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6"/>
  </p:notesMasterIdLst>
  <p:sldIdLst>
    <p:sldId id="345" r:id="rId2"/>
    <p:sldId id="346" r:id="rId3"/>
    <p:sldId id="347" r:id="rId4"/>
    <p:sldId id="348" r:id="rId5"/>
  </p:sldIdLst>
  <p:sldSz cx="9144000" cy="5143500" type="screen16x9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78" autoAdjust="0"/>
    <p:restoredTop sz="85732" autoAdjust="0"/>
  </p:normalViewPr>
  <p:slideViewPr>
    <p:cSldViewPr snapToObjects="1" showGuides="1">
      <p:cViewPr>
        <p:scale>
          <a:sx n="100" d="100"/>
          <a:sy n="100" d="100"/>
        </p:scale>
        <p:origin x="970" y="58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5/25/20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EIHrzcrB_3E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youtube.com/watch?v=6mW_gzdh6to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/>
              <a:t>Reference:</a:t>
            </a:r>
          </a:p>
          <a:p>
            <a:r>
              <a:rPr lang="es-MX" b="1" dirty="0" err="1"/>
              <a:t>Stability</a:t>
            </a:r>
            <a:r>
              <a:rPr lang="es-MX" b="1" dirty="0"/>
              <a:t> and Control </a:t>
            </a:r>
            <a:r>
              <a:rPr lang="es-MX" b="1" dirty="0" err="1"/>
              <a:t>Considerations</a:t>
            </a:r>
            <a:r>
              <a:rPr lang="es-MX" b="1" dirty="0"/>
              <a:t> </a:t>
            </a:r>
            <a:r>
              <a:rPr lang="es-MX" b="1" dirty="0" err="1"/>
              <a:t>of</a:t>
            </a:r>
            <a:r>
              <a:rPr lang="es-MX" b="1" dirty="0"/>
              <a:t> </a:t>
            </a:r>
            <a:r>
              <a:rPr lang="es-MX" b="1" dirty="0" err="1"/>
              <a:t>Vehicle-Trailer</a:t>
            </a:r>
            <a:r>
              <a:rPr lang="es-MX" b="1" dirty="0"/>
              <a:t> </a:t>
            </a:r>
            <a:r>
              <a:rPr lang="es-MX" b="1" dirty="0" err="1"/>
              <a:t>Combination</a:t>
            </a:r>
            <a:r>
              <a:rPr lang="es-MX" b="1" dirty="0"/>
              <a:t> / Aleksander </a:t>
            </a:r>
            <a:r>
              <a:rPr lang="es-MX" b="1" dirty="0" err="1"/>
              <a:t>Hac</a:t>
            </a:r>
            <a:r>
              <a:rPr lang="es-MX" b="1" dirty="0"/>
              <a:t>, Daniel </a:t>
            </a:r>
            <a:r>
              <a:rPr lang="es-MX" b="1" dirty="0" err="1"/>
              <a:t>Fulk</a:t>
            </a:r>
            <a:r>
              <a:rPr lang="es-MX" b="1" dirty="0"/>
              <a:t> </a:t>
            </a:r>
            <a:r>
              <a:rPr lang="es-MX" b="1" dirty="0" err="1"/>
              <a:t>Hsien</a:t>
            </a:r>
            <a:r>
              <a:rPr lang="es-MX" b="1" dirty="0"/>
              <a:t> Chen</a:t>
            </a:r>
          </a:p>
          <a:p>
            <a:r>
              <a:rPr lang="es-MX" dirty="0"/>
              <a:t>Delphi </a:t>
            </a:r>
            <a:r>
              <a:rPr lang="es-MX" dirty="0" err="1"/>
              <a:t>Corporation</a:t>
            </a:r>
            <a:endParaRPr lang="es-MX" dirty="0"/>
          </a:p>
          <a:p>
            <a:endParaRPr lang="es-MX" dirty="0"/>
          </a:p>
          <a:p>
            <a:r>
              <a:rPr lang="es-MX" b="1" dirty="0" err="1"/>
              <a:t>Introduction</a:t>
            </a:r>
            <a:r>
              <a:rPr lang="es-MX" b="1" dirty="0"/>
              <a:t>:</a:t>
            </a:r>
          </a:p>
          <a:p>
            <a:endParaRPr lang="es-MX" dirty="0"/>
          </a:p>
          <a:p>
            <a:r>
              <a:rPr lang="en-US" dirty="0"/>
              <a:t>Handling behavior of articulated vehicles is more complex and less predictable than that of non-articulated vehicles. This poses challenge to on-expert drives of light vehicles, who occasionally tow recreational trailers and may not have good understanding of dynamics complexity of vehicle-trailer combination. </a:t>
            </a:r>
          </a:p>
          <a:p>
            <a:r>
              <a:rPr lang="en-US" dirty="0"/>
              <a:t>The task of controlling vehicles becomes the most difficult when  system becomes unstable.</a:t>
            </a:r>
          </a:p>
          <a:p>
            <a:endParaRPr lang="en-US" dirty="0"/>
          </a:p>
          <a:p>
            <a:r>
              <a:rPr lang="en-US" dirty="0"/>
              <a:t>The articulated vehicle may experience two types of instability in the yaw plane. The first one is a divergent instability such as</a:t>
            </a:r>
            <a:r>
              <a:rPr lang="en-US" b="1" dirty="0"/>
              <a:t> jackknifing</a:t>
            </a:r>
            <a:r>
              <a:rPr lang="en-US" dirty="0"/>
              <a:t>, in which the hitch angle increases without experiencing oscillations.</a:t>
            </a:r>
          </a:p>
          <a:p>
            <a:r>
              <a:rPr lang="en-US" dirty="0"/>
              <a:t>This occurs when, at a particular operating conditions becomes negative and the speed is above critical velocity.</a:t>
            </a:r>
          </a:p>
          <a:p>
            <a:endParaRPr lang="en-US" dirty="0"/>
          </a:p>
          <a:p>
            <a:r>
              <a:rPr lang="en-US" dirty="0"/>
              <a:t>Jackknife example: </a:t>
            </a:r>
            <a:r>
              <a:rPr lang="en-US" dirty="0">
                <a:hlinkClick r:id="rId3"/>
              </a:rPr>
              <a:t>https://www.youtube.com/watch?v=EIHrzcrB_3E</a:t>
            </a:r>
            <a:endParaRPr lang="en-US" dirty="0"/>
          </a:p>
          <a:p>
            <a:endParaRPr lang="en-US" dirty="0"/>
          </a:p>
          <a:p>
            <a:r>
              <a:rPr lang="en-US" dirty="0"/>
              <a:t>The second type is dynamics in nature and may lead to oscillatory response with increasing amplitude known as </a:t>
            </a:r>
            <a:r>
              <a:rPr lang="en-US" b="1" dirty="0"/>
              <a:t>shaking or sway.</a:t>
            </a:r>
          </a:p>
          <a:p>
            <a:endParaRPr lang="en-US" b="1" dirty="0"/>
          </a:p>
          <a:p>
            <a:r>
              <a:rPr lang="en-US" dirty="0">
                <a:hlinkClick r:id="rId4"/>
              </a:rPr>
              <a:t>https://www.youtube.com/watch?v=6mW_gzdh6to</a:t>
            </a:r>
            <a:endParaRPr lang="en-US" dirty="0"/>
          </a:p>
          <a:p>
            <a:endParaRPr lang="en-US" b="1" dirty="0"/>
          </a:p>
          <a:p>
            <a:r>
              <a:rPr lang="en-US" b="1" dirty="0"/>
              <a:t>Justification:</a:t>
            </a:r>
          </a:p>
          <a:p>
            <a:r>
              <a:rPr lang="en-US" b="0" dirty="0"/>
              <a:t> Since no direct feedback information about the trailer motion or even knowledge of trailer parameters is one of the most important issues for system intended for p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307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ont wheel steering angle, hitch angle and tire slip angles are assumed to be small, even tire slip angles could be considered as zero.</a:t>
            </a:r>
          </a:p>
          <a:p>
            <a:r>
              <a:rPr lang="en-US" dirty="0"/>
              <a:t>In addition, the force of aerodynamics are ignores (that’s mean considered system as flat vehicle or depreciable high)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404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2"/>
            <a:ext cx="8785225" cy="273685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7,6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 err="1">
                <a:solidFill>
                  <a:schemeClr val="tx1"/>
                </a:solidFill>
              </a:rPr>
              <a:t>Wen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neues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fügen</a:t>
            </a:r>
            <a:r>
              <a:rPr lang="en-US" sz="900" noProof="0" dirty="0">
                <a:solidFill>
                  <a:schemeClr val="tx1"/>
                </a:solidFill>
              </a:rPr>
              <a:t>: </a:t>
            </a:r>
            <a:r>
              <a:rPr lang="en-US" sz="900" noProof="0" dirty="0" err="1">
                <a:solidFill>
                  <a:schemeClr val="tx1"/>
                </a:solidFill>
              </a:rPr>
              <a:t>Klick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it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der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recht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austaste</a:t>
            </a:r>
            <a:r>
              <a:rPr lang="en-US" sz="900" noProof="0" dirty="0">
                <a:solidFill>
                  <a:schemeClr val="tx1"/>
                </a:solidFill>
              </a:rPr>
              <a:t> auf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und </a:t>
            </a:r>
            <a:r>
              <a:rPr lang="en-US" sz="900" noProof="0" dirty="0" err="1">
                <a:solidFill>
                  <a:schemeClr val="tx1"/>
                </a:solidFill>
              </a:rPr>
              <a:t>wählen</a:t>
            </a:r>
            <a:r>
              <a:rPr lang="en-US" sz="900" noProof="0" dirty="0">
                <a:solidFill>
                  <a:schemeClr val="tx1"/>
                </a:solidFill>
              </a:rPr>
              <a:t> „In den </a:t>
            </a:r>
            <a:r>
              <a:rPr lang="en-US" sz="900" noProof="0" dirty="0" err="1">
                <a:solidFill>
                  <a:schemeClr val="tx1"/>
                </a:solidFill>
              </a:rPr>
              <a:t>Hintergrund</a:t>
            </a:r>
            <a:r>
              <a:rPr lang="en-US" sz="900" noProof="0" dirty="0">
                <a:solidFill>
                  <a:schemeClr val="tx1"/>
                </a:solidFill>
              </a:rPr>
              <a:t>“, um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hinter das Quality Seal </a:t>
            </a:r>
            <a:r>
              <a:rPr lang="en-US" sz="900" noProof="0" dirty="0" err="1">
                <a:solidFill>
                  <a:schemeClr val="tx1"/>
                </a:solidFill>
              </a:rPr>
              <a:t>zu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ringen</a:t>
            </a:r>
            <a:r>
              <a:rPr lang="en-US" sz="900" noProof="0" dirty="0">
                <a:solidFill>
                  <a:schemeClr val="tx1"/>
                </a:solidFill>
              </a:rPr>
              <a:t>.</a:t>
            </a:r>
          </a:p>
          <a:p>
            <a:r>
              <a:rPr lang="en-US" sz="9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5F1328-8865-4437-B9B5-1B98AE42546C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F64C55-3C07-4FCB-9F06-CA7928BDD2EB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144BB05-B6BD-4EAF-8D90-F01B136B4D17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347788"/>
            <a:ext cx="4141787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DE66952-8BA7-4545-9894-562BD7F5549F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7650"/>
            <a:ext cx="4140199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7650"/>
            <a:ext cx="4141788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7E051F-9C00-4D71-9B67-0FF240BFCC4F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B9D1A53-3D50-465D-BEE6-D62CB4527C46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EADE39-D176-4F20-980F-C8D999BF5D0B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CAE601-AA0A-4E2D-A23A-B8A0B5331932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8F701C-372F-4C4A-8037-9EE90099ED8D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3" name="Gerade Verbindung 2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1A14F1-A98B-4B01-AB5C-4EDA8538C6C0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427585"/>
            <a:ext cx="8172140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2773185"/>
            <a:ext cx="8172140" cy="87868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3"/>
            <a:ext cx="8785225" cy="47529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3,2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040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6000"/>
            <a:ext cx="8172140" cy="84394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1"/>
            <a:ext cx="2555875" cy="131127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3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A0CE834-690D-4F26-8C93-130BA36FD7C0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3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223074-4D72-465E-909D-7D1DBB514C91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0A75B6-8E1B-4380-84B9-49631E7ED158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2" name="Gerade Verbindung 21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5A1C77-F3AB-418B-BB96-BF86CA98ED28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5" cy="1368426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1B2569-E16F-4FFF-9EC5-29BC0236DFAB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LOGOPLACEHOLDER" hidden="1"/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>
            <a:srgbClr val="FFFFFF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800" noProof="0" dirty="0">
              <a:solidFill>
                <a:srgbClr val="00B0F0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446C7CFE-FDAE-4A50-A309-ACAE703BAE6B}" type="datetime3">
              <a:rPr lang="en-US" noProof="0" smtClean="0"/>
              <a:pPr/>
              <a:t>25 May 2020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665239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665239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Public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mpower - DO NOT DELETE!!!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 userDrawn="1">
            <p:custDataLst>
              <p:tags r:id="rId23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2019 Land Rover Discovery Sport Towing Capacity | Land Rover ...">
            <a:extLst>
              <a:ext uri="{FF2B5EF4-FFF2-40B4-BE49-F238E27FC236}">
                <a16:creationId xmlns:a16="http://schemas.microsoft.com/office/drawing/2014/main" id="{33E17297-1B8C-4A91-A91C-F34E2592B8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71" t="16115" r="-1" b="5587"/>
          <a:stretch/>
        </p:blipFill>
        <p:spPr bwMode="auto">
          <a:xfrm>
            <a:off x="154140" y="195263"/>
            <a:ext cx="8810473" cy="2751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Lateral Control Passenger Cars with Traile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Analytical model of vehicle-trailer combina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DA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042351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Arc 94">
            <a:extLst>
              <a:ext uri="{FF2B5EF4-FFF2-40B4-BE49-F238E27FC236}">
                <a16:creationId xmlns:a16="http://schemas.microsoft.com/office/drawing/2014/main" id="{48595C41-C535-4B6F-A75B-2D3DD9A74425}"/>
              </a:ext>
            </a:extLst>
          </p:cNvPr>
          <p:cNvSpPr/>
          <p:nvPr/>
        </p:nvSpPr>
        <p:spPr>
          <a:xfrm flipH="1">
            <a:off x="3247553" y="2678333"/>
            <a:ext cx="75113" cy="102922"/>
          </a:xfrm>
          <a:prstGeom prst="arc">
            <a:avLst>
              <a:gd name="adj1" fmla="val 16200000"/>
              <a:gd name="adj2" fmla="val 4436574"/>
            </a:avLst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37B5143-E8BA-427E-8138-1E615F66D92A}"/>
              </a:ext>
            </a:extLst>
          </p:cNvPr>
          <p:cNvCxnSpPr>
            <a:cxnSpLocks/>
          </p:cNvCxnSpPr>
          <p:nvPr/>
        </p:nvCxnSpPr>
        <p:spPr>
          <a:xfrm flipV="1">
            <a:off x="6618843" y="2581676"/>
            <a:ext cx="786188" cy="2636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6704591F-8EC5-4D0C-9E0C-BC5AE963C1FB}"/>
              </a:ext>
            </a:extLst>
          </p:cNvPr>
          <p:cNvCxnSpPr>
            <a:stCxn id="35" idx="7"/>
          </p:cNvCxnSpPr>
          <p:nvPr/>
        </p:nvCxnSpPr>
        <p:spPr>
          <a:xfrm flipV="1">
            <a:off x="6593709" y="2283718"/>
            <a:ext cx="792628" cy="312562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F921504A-E8CD-407F-8826-7C2EAA6BBA17}"/>
                  </a:ext>
                </a:extLst>
              </p:cNvPr>
              <p:cNvSpPr txBox="1"/>
              <p:nvPr/>
            </p:nvSpPr>
            <p:spPr>
              <a:xfrm>
                <a:off x="7058428" y="2342928"/>
                <a:ext cx="30399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</m:oMath>
                  </m:oMathPara>
                </a14:m>
                <a:endParaRPr lang="en-US" sz="1100" dirty="0"/>
              </a:p>
            </p:txBody>
          </p:sp>
        </mc:Choice>
        <mc:Fallback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F921504A-E8CD-407F-8826-7C2EAA6BBA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58428" y="2342928"/>
                <a:ext cx="303993" cy="26161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189C2B3-51FB-45CB-A5E0-0E8F4801DCE2}"/>
              </a:ext>
            </a:extLst>
          </p:cNvPr>
          <p:cNvCxnSpPr>
            <a:cxnSpLocks/>
            <a:stCxn id="41" idx="4"/>
          </p:cNvCxnSpPr>
          <p:nvPr/>
        </p:nvCxnSpPr>
        <p:spPr>
          <a:xfrm>
            <a:off x="5146502" y="2748554"/>
            <a:ext cx="0" cy="736031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9D0D95E-0C20-4C8D-BCA5-FF791B93CAFF}"/>
              </a:ext>
            </a:extLst>
          </p:cNvPr>
          <p:cNvCxnSpPr>
            <a:cxnSpLocks/>
          </p:cNvCxnSpPr>
          <p:nvPr/>
        </p:nvCxnSpPr>
        <p:spPr>
          <a:xfrm>
            <a:off x="3887394" y="2067694"/>
            <a:ext cx="0" cy="1011843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4441A74-0D83-4A2E-AA4C-0062EB28F181}"/>
              </a:ext>
            </a:extLst>
          </p:cNvPr>
          <p:cNvCxnSpPr>
            <a:cxnSpLocks/>
          </p:cNvCxnSpPr>
          <p:nvPr/>
        </p:nvCxnSpPr>
        <p:spPr>
          <a:xfrm>
            <a:off x="3417338" y="2752285"/>
            <a:ext cx="0" cy="732300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E74080BF-9FB5-4F09-9E8F-36C4E8FDA0C3}"/>
              </a:ext>
            </a:extLst>
          </p:cNvPr>
          <p:cNvCxnSpPr>
            <a:cxnSpLocks/>
          </p:cNvCxnSpPr>
          <p:nvPr/>
        </p:nvCxnSpPr>
        <p:spPr>
          <a:xfrm>
            <a:off x="6444208" y="2067694"/>
            <a:ext cx="0" cy="1011843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39A359B4-7A47-4217-BEAE-8DA6CD8964BD}"/>
              </a:ext>
            </a:extLst>
          </p:cNvPr>
          <p:cNvCxnSpPr>
            <a:cxnSpLocks/>
          </p:cNvCxnSpPr>
          <p:nvPr/>
        </p:nvCxnSpPr>
        <p:spPr>
          <a:xfrm>
            <a:off x="3887394" y="3059927"/>
            <a:ext cx="1259108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8BAAE6FA-7D35-4B5D-B68B-7511FE0717C3}"/>
              </a:ext>
            </a:extLst>
          </p:cNvPr>
          <p:cNvCxnSpPr>
            <a:cxnSpLocks/>
          </p:cNvCxnSpPr>
          <p:nvPr/>
        </p:nvCxnSpPr>
        <p:spPr>
          <a:xfrm>
            <a:off x="5146502" y="3059927"/>
            <a:ext cx="1297706" cy="1961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DF087BF9-AC2D-42B9-9EEF-9BEA88AFAAC5}"/>
              </a:ext>
            </a:extLst>
          </p:cNvPr>
          <p:cNvCxnSpPr/>
          <p:nvPr/>
        </p:nvCxnSpPr>
        <p:spPr>
          <a:xfrm>
            <a:off x="3417338" y="3059927"/>
            <a:ext cx="470056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2F768B7-798B-4C9C-ABCC-0121CC002DF5}"/>
              </a:ext>
            </a:extLst>
          </p:cNvPr>
          <p:cNvCxnSpPr>
            <a:cxnSpLocks/>
          </p:cNvCxnSpPr>
          <p:nvPr/>
        </p:nvCxnSpPr>
        <p:spPr>
          <a:xfrm>
            <a:off x="3392747" y="3444794"/>
            <a:ext cx="1753755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F9AC3F84-CF58-4765-9216-D3330CD2C639}"/>
              </a:ext>
            </a:extLst>
          </p:cNvPr>
          <p:cNvCxnSpPr>
            <a:cxnSpLocks/>
          </p:cNvCxnSpPr>
          <p:nvPr/>
        </p:nvCxnSpPr>
        <p:spPr>
          <a:xfrm>
            <a:off x="3887394" y="2342928"/>
            <a:ext cx="2556814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1B683A8-6AE8-447F-9996-0FDBB4F2E2BA}"/>
              </a:ext>
            </a:extLst>
          </p:cNvPr>
          <p:cNvCxnSpPr>
            <a:cxnSpLocks/>
          </p:cNvCxnSpPr>
          <p:nvPr/>
        </p:nvCxnSpPr>
        <p:spPr>
          <a:xfrm flipH="1" flipV="1">
            <a:off x="2922893" y="1930106"/>
            <a:ext cx="494147" cy="779248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1265F858-6A5B-4A85-B45E-C2CB3DFE515B}"/>
              </a:ext>
            </a:extLst>
          </p:cNvPr>
          <p:cNvCxnSpPr>
            <a:cxnSpLocks/>
          </p:cNvCxnSpPr>
          <p:nvPr/>
        </p:nvCxnSpPr>
        <p:spPr>
          <a:xfrm flipH="1" flipV="1">
            <a:off x="1724634" y="2608039"/>
            <a:ext cx="493953" cy="803278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15302240-654E-451D-A720-EE8F94990D0C}"/>
              </a:ext>
            </a:extLst>
          </p:cNvPr>
          <p:cNvCxnSpPr>
            <a:cxnSpLocks/>
          </p:cNvCxnSpPr>
          <p:nvPr/>
        </p:nvCxnSpPr>
        <p:spPr>
          <a:xfrm flipH="1" flipV="1">
            <a:off x="2604474" y="2493107"/>
            <a:ext cx="285200" cy="425635"/>
          </a:xfrm>
          <a:prstGeom prst="line">
            <a:avLst/>
          </a:prstGeom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121085BA-FACA-4054-A8F7-12D35FE75AF0}"/>
              </a:ext>
            </a:extLst>
          </p:cNvPr>
          <p:cNvCxnSpPr/>
          <p:nvPr/>
        </p:nvCxnSpPr>
        <p:spPr>
          <a:xfrm flipV="1">
            <a:off x="2032467" y="2630075"/>
            <a:ext cx="667325" cy="449462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179A8536-78CF-4454-A77B-8FD6E740161A}"/>
              </a:ext>
            </a:extLst>
          </p:cNvPr>
          <p:cNvCxnSpPr/>
          <p:nvPr/>
        </p:nvCxnSpPr>
        <p:spPr>
          <a:xfrm flipV="1">
            <a:off x="2699792" y="2342928"/>
            <a:ext cx="432346" cy="274423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AE5AF0D0-91B9-46AC-A40D-5EB8D6980E61}"/>
              </a:ext>
            </a:extLst>
          </p:cNvPr>
          <p:cNvCxnSpPr/>
          <p:nvPr/>
        </p:nvCxnSpPr>
        <p:spPr>
          <a:xfrm flipV="1">
            <a:off x="1889037" y="2130627"/>
            <a:ext cx="1126240" cy="731301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98BF72D0-961F-4F9F-8682-180E1ED9EFB8}"/>
              </a:ext>
            </a:extLst>
          </p:cNvPr>
          <p:cNvCxnSpPr>
            <a:stCxn id="24" idx="2"/>
          </p:cNvCxnSpPr>
          <p:nvPr/>
        </p:nvCxnSpPr>
        <p:spPr>
          <a:xfrm flipH="1" flipV="1">
            <a:off x="3059832" y="2673572"/>
            <a:ext cx="321502" cy="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9" y="843558"/>
            <a:ext cx="8353425" cy="3312517"/>
          </a:xfrm>
        </p:spPr>
        <p:txBody>
          <a:bodyPr/>
          <a:lstStyle/>
          <a:p>
            <a:r>
              <a:rPr lang="de-DE" dirty="0"/>
              <a:t>For the propouse of studyng the yaw plane dynamics of the vehicle-trailer conbination, a single track (mean bicycle description) 4-th order model ilustraited in Figure 1.</a:t>
            </a:r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alytical model of vehicle-trailer combination</a:t>
            </a:r>
            <a:br>
              <a:rPr lang="de-DE" dirty="0"/>
            </a:b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5 May 2020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AFBFA9A-C34A-4BC0-8441-4DD4E99D7772}"/>
              </a:ext>
            </a:extLst>
          </p:cNvPr>
          <p:cNvGrpSpPr/>
          <p:nvPr/>
        </p:nvGrpSpPr>
        <p:grpSpPr>
          <a:xfrm rot="3404244">
            <a:off x="2135859" y="3157706"/>
            <a:ext cx="249065" cy="507978"/>
            <a:chOff x="5106987" y="1347788"/>
            <a:chExt cx="1666875" cy="3495675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D317F40-06DA-46F3-9163-DABF7C2AC9E1}"/>
                </a:ext>
              </a:extLst>
            </p:cNvPr>
            <p:cNvSpPr/>
            <p:nvPr/>
          </p:nvSpPr>
          <p:spPr>
            <a:xfrm>
              <a:off x="5106987" y="1347788"/>
              <a:ext cx="1666875" cy="3495675"/>
            </a:xfrm>
            <a:custGeom>
              <a:avLst/>
              <a:gdLst>
                <a:gd name="connsiteX0" fmla="*/ 1290638 w 1666875"/>
                <a:gd name="connsiteY0" fmla="*/ 0 h 3495675"/>
                <a:gd name="connsiteX1" fmla="*/ 376238 w 1666875"/>
                <a:gd name="connsiteY1" fmla="*/ 0 h 3495675"/>
                <a:gd name="connsiteX2" fmla="*/ 0 w 1666875"/>
                <a:gd name="connsiteY2" fmla="*/ 376238 h 3495675"/>
                <a:gd name="connsiteX3" fmla="*/ 0 w 1666875"/>
                <a:gd name="connsiteY3" fmla="*/ 3119438 h 3495675"/>
                <a:gd name="connsiteX4" fmla="*/ 376238 w 1666875"/>
                <a:gd name="connsiteY4" fmla="*/ 3495675 h 3495675"/>
                <a:gd name="connsiteX5" fmla="*/ 1290638 w 1666875"/>
                <a:gd name="connsiteY5" fmla="*/ 3495675 h 3495675"/>
                <a:gd name="connsiteX6" fmla="*/ 1666875 w 1666875"/>
                <a:gd name="connsiteY6" fmla="*/ 3119438 h 3495675"/>
                <a:gd name="connsiteX7" fmla="*/ 1666875 w 1666875"/>
                <a:gd name="connsiteY7" fmla="*/ 376238 h 3495675"/>
                <a:gd name="connsiteX8" fmla="*/ 1290638 w 1666875"/>
                <a:gd name="connsiteY8" fmla="*/ 0 h 3495675"/>
                <a:gd name="connsiteX9" fmla="*/ 1524000 w 1666875"/>
                <a:gd name="connsiteY9" fmla="*/ 3119438 h 3495675"/>
                <a:gd name="connsiteX10" fmla="*/ 1290638 w 1666875"/>
                <a:gd name="connsiteY10" fmla="*/ 3352800 h 3495675"/>
                <a:gd name="connsiteX11" fmla="*/ 376238 w 1666875"/>
                <a:gd name="connsiteY11" fmla="*/ 3352800 h 3495675"/>
                <a:gd name="connsiteX12" fmla="*/ 142875 w 1666875"/>
                <a:gd name="connsiteY12" fmla="*/ 3119438 h 3495675"/>
                <a:gd name="connsiteX13" fmla="*/ 142875 w 1666875"/>
                <a:gd name="connsiteY13" fmla="*/ 376238 h 3495675"/>
                <a:gd name="connsiteX14" fmla="*/ 376238 w 1666875"/>
                <a:gd name="connsiteY14" fmla="*/ 142875 h 3495675"/>
                <a:gd name="connsiteX15" fmla="*/ 1290638 w 1666875"/>
                <a:gd name="connsiteY15" fmla="*/ 142875 h 3495675"/>
                <a:gd name="connsiteX16" fmla="*/ 1524000 w 1666875"/>
                <a:gd name="connsiteY16" fmla="*/ 376238 h 3495675"/>
                <a:gd name="connsiteX17" fmla="*/ 1524000 w 1666875"/>
                <a:gd name="connsiteY17" fmla="*/ 3119438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66875" h="3495675">
                  <a:moveTo>
                    <a:pt x="1290638" y="0"/>
                  </a:moveTo>
                  <a:lnTo>
                    <a:pt x="376238" y="0"/>
                  </a:lnTo>
                  <a:cubicBezTo>
                    <a:pt x="168450" y="0"/>
                    <a:pt x="0" y="168450"/>
                    <a:pt x="0" y="376238"/>
                  </a:cubicBezTo>
                  <a:lnTo>
                    <a:pt x="0" y="3119438"/>
                  </a:lnTo>
                  <a:cubicBezTo>
                    <a:pt x="0" y="3327226"/>
                    <a:pt x="168450" y="3495675"/>
                    <a:pt x="376238" y="3495675"/>
                  </a:cubicBezTo>
                  <a:lnTo>
                    <a:pt x="1290638" y="3495675"/>
                  </a:lnTo>
                  <a:cubicBezTo>
                    <a:pt x="1498425" y="3495675"/>
                    <a:pt x="1666875" y="3327226"/>
                    <a:pt x="1666875" y="3119438"/>
                  </a:cubicBezTo>
                  <a:lnTo>
                    <a:pt x="1666875" y="376238"/>
                  </a:lnTo>
                  <a:cubicBezTo>
                    <a:pt x="1666875" y="168450"/>
                    <a:pt x="1498425" y="0"/>
                    <a:pt x="1290638" y="0"/>
                  </a:cubicBezTo>
                  <a:close/>
                  <a:moveTo>
                    <a:pt x="1524000" y="3119438"/>
                  </a:moveTo>
                  <a:cubicBezTo>
                    <a:pt x="1524000" y="3248320"/>
                    <a:pt x="1419520" y="3352800"/>
                    <a:pt x="1290638" y="3352800"/>
                  </a:cubicBezTo>
                  <a:lnTo>
                    <a:pt x="376238" y="3352800"/>
                  </a:lnTo>
                  <a:cubicBezTo>
                    <a:pt x="247355" y="3352800"/>
                    <a:pt x="142875" y="3248320"/>
                    <a:pt x="142875" y="3119438"/>
                  </a:cubicBezTo>
                  <a:lnTo>
                    <a:pt x="142875" y="376238"/>
                  </a:lnTo>
                  <a:cubicBezTo>
                    <a:pt x="142875" y="247355"/>
                    <a:pt x="247355" y="142875"/>
                    <a:pt x="376238" y="142875"/>
                  </a:cubicBezTo>
                  <a:lnTo>
                    <a:pt x="1290638" y="142875"/>
                  </a:lnTo>
                  <a:cubicBezTo>
                    <a:pt x="1419520" y="142875"/>
                    <a:pt x="1524000" y="247355"/>
                    <a:pt x="1524000" y="376238"/>
                  </a:cubicBezTo>
                  <a:lnTo>
                    <a:pt x="1524000" y="311943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A121EB6-C535-4C0C-90A5-A5ED757381D3}"/>
                </a:ext>
              </a:extLst>
            </p:cNvPr>
            <p:cNvSpPr/>
            <p:nvPr/>
          </p:nvSpPr>
          <p:spPr>
            <a:xfrm>
              <a:off x="5411787" y="44624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24713CE-D232-47D3-96C5-E8A1E27B57DB}"/>
                </a:ext>
              </a:extLst>
            </p:cNvPr>
            <p:cNvSpPr/>
            <p:nvPr/>
          </p:nvSpPr>
          <p:spPr>
            <a:xfrm>
              <a:off x="5411787" y="1566863"/>
              <a:ext cx="1057275" cy="3048000"/>
            </a:xfrm>
            <a:custGeom>
              <a:avLst/>
              <a:gdLst>
                <a:gd name="connsiteX0" fmla="*/ 914400 w 1057275"/>
                <a:gd name="connsiteY0" fmla="*/ 381000 h 3048000"/>
                <a:gd name="connsiteX1" fmla="*/ 914400 w 1057275"/>
                <a:gd name="connsiteY1" fmla="*/ 589531 h 3048000"/>
                <a:gd name="connsiteX2" fmla="*/ 752475 w 1057275"/>
                <a:gd name="connsiteY2" fmla="*/ 427606 h 3048000"/>
                <a:gd name="connsiteX3" fmla="*/ 752475 w 1057275"/>
                <a:gd name="connsiteY3" fmla="*/ 0 h 3048000"/>
                <a:gd name="connsiteX4" fmla="*/ 609600 w 1057275"/>
                <a:gd name="connsiteY4" fmla="*/ 0 h 3048000"/>
                <a:gd name="connsiteX5" fmla="*/ 609600 w 1057275"/>
                <a:gd name="connsiteY5" fmla="*/ 122806 h 3048000"/>
                <a:gd name="connsiteX6" fmla="*/ 447675 w 1057275"/>
                <a:gd name="connsiteY6" fmla="*/ 284731 h 3048000"/>
                <a:gd name="connsiteX7" fmla="*/ 447675 w 1057275"/>
                <a:gd name="connsiteY7" fmla="*/ 0 h 3048000"/>
                <a:gd name="connsiteX8" fmla="*/ 304800 w 1057275"/>
                <a:gd name="connsiteY8" fmla="*/ 0 h 3048000"/>
                <a:gd name="connsiteX9" fmla="*/ 304800 w 1057275"/>
                <a:gd name="connsiteY9" fmla="*/ 589531 h 3048000"/>
                <a:gd name="connsiteX10" fmla="*/ 142875 w 1057275"/>
                <a:gd name="connsiteY10" fmla="*/ 427606 h 3048000"/>
                <a:gd name="connsiteX11" fmla="*/ 142875 w 1057275"/>
                <a:gd name="connsiteY11" fmla="*/ 0 h 3048000"/>
                <a:gd name="connsiteX12" fmla="*/ 0 w 1057275"/>
                <a:gd name="connsiteY12" fmla="*/ 0 h 3048000"/>
                <a:gd name="connsiteX13" fmla="*/ 0 w 1057275"/>
                <a:gd name="connsiteY13" fmla="*/ 2667000 h 3048000"/>
                <a:gd name="connsiteX14" fmla="*/ 142875 w 1057275"/>
                <a:gd name="connsiteY14" fmla="*/ 2667000 h 3048000"/>
                <a:gd name="connsiteX15" fmla="*/ 142875 w 1057275"/>
                <a:gd name="connsiteY15" fmla="*/ 2458469 h 3048000"/>
                <a:gd name="connsiteX16" fmla="*/ 304800 w 1057275"/>
                <a:gd name="connsiteY16" fmla="*/ 2620394 h 3048000"/>
                <a:gd name="connsiteX17" fmla="*/ 304800 w 1057275"/>
                <a:gd name="connsiteY17" fmla="*/ 3048000 h 3048000"/>
                <a:gd name="connsiteX18" fmla="*/ 447675 w 1057275"/>
                <a:gd name="connsiteY18" fmla="*/ 3048000 h 3048000"/>
                <a:gd name="connsiteX19" fmla="*/ 447675 w 1057275"/>
                <a:gd name="connsiteY19" fmla="*/ 2925194 h 3048000"/>
                <a:gd name="connsiteX20" fmla="*/ 609600 w 1057275"/>
                <a:gd name="connsiteY20" fmla="*/ 2763269 h 3048000"/>
                <a:gd name="connsiteX21" fmla="*/ 609600 w 1057275"/>
                <a:gd name="connsiteY21" fmla="*/ 3048000 h 3048000"/>
                <a:gd name="connsiteX22" fmla="*/ 752475 w 1057275"/>
                <a:gd name="connsiteY22" fmla="*/ 3048000 h 3048000"/>
                <a:gd name="connsiteX23" fmla="*/ 752475 w 1057275"/>
                <a:gd name="connsiteY23" fmla="*/ 2458469 h 3048000"/>
                <a:gd name="connsiteX24" fmla="*/ 914400 w 1057275"/>
                <a:gd name="connsiteY24" fmla="*/ 2620394 h 3048000"/>
                <a:gd name="connsiteX25" fmla="*/ 914400 w 1057275"/>
                <a:gd name="connsiteY25" fmla="*/ 3048000 h 3048000"/>
                <a:gd name="connsiteX26" fmla="*/ 1057275 w 1057275"/>
                <a:gd name="connsiteY26" fmla="*/ 3048000 h 3048000"/>
                <a:gd name="connsiteX27" fmla="*/ 1057275 w 1057275"/>
                <a:gd name="connsiteY27" fmla="*/ 381000 h 3048000"/>
                <a:gd name="connsiteX28" fmla="*/ 914400 w 1057275"/>
                <a:gd name="connsiteY28" fmla="*/ 381000 h 3048000"/>
                <a:gd name="connsiteX29" fmla="*/ 304800 w 1057275"/>
                <a:gd name="connsiteY29" fmla="*/ 2418331 h 3048000"/>
                <a:gd name="connsiteX30" fmla="*/ 142875 w 1057275"/>
                <a:gd name="connsiteY30" fmla="*/ 2256406 h 3048000"/>
                <a:gd name="connsiteX31" fmla="*/ 142875 w 1057275"/>
                <a:gd name="connsiteY31" fmla="*/ 1848869 h 3048000"/>
                <a:gd name="connsiteX32" fmla="*/ 304800 w 1057275"/>
                <a:gd name="connsiteY32" fmla="*/ 2010794 h 3048000"/>
                <a:gd name="connsiteX33" fmla="*/ 304800 w 1057275"/>
                <a:gd name="connsiteY33" fmla="*/ 2418331 h 3048000"/>
                <a:gd name="connsiteX34" fmla="*/ 304800 w 1057275"/>
                <a:gd name="connsiteY34" fmla="*/ 1808731 h 3048000"/>
                <a:gd name="connsiteX35" fmla="*/ 142875 w 1057275"/>
                <a:gd name="connsiteY35" fmla="*/ 1646806 h 3048000"/>
                <a:gd name="connsiteX36" fmla="*/ 142875 w 1057275"/>
                <a:gd name="connsiteY36" fmla="*/ 1239269 h 3048000"/>
                <a:gd name="connsiteX37" fmla="*/ 304800 w 1057275"/>
                <a:gd name="connsiteY37" fmla="*/ 1401194 h 3048000"/>
                <a:gd name="connsiteX38" fmla="*/ 304800 w 1057275"/>
                <a:gd name="connsiteY38" fmla="*/ 1808731 h 3048000"/>
                <a:gd name="connsiteX39" fmla="*/ 304800 w 1057275"/>
                <a:gd name="connsiteY39" fmla="*/ 1199131 h 3048000"/>
                <a:gd name="connsiteX40" fmla="*/ 142875 w 1057275"/>
                <a:gd name="connsiteY40" fmla="*/ 1037206 h 3048000"/>
                <a:gd name="connsiteX41" fmla="*/ 142875 w 1057275"/>
                <a:gd name="connsiteY41" fmla="*/ 629669 h 3048000"/>
                <a:gd name="connsiteX42" fmla="*/ 304800 w 1057275"/>
                <a:gd name="connsiteY42" fmla="*/ 791594 h 3048000"/>
                <a:gd name="connsiteX43" fmla="*/ 304800 w 1057275"/>
                <a:gd name="connsiteY43" fmla="*/ 1199131 h 3048000"/>
                <a:gd name="connsiteX44" fmla="*/ 609600 w 1057275"/>
                <a:gd name="connsiteY44" fmla="*/ 2561206 h 3048000"/>
                <a:gd name="connsiteX45" fmla="*/ 447675 w 1057275"/>
                <a:gd name="connsiteY45" fmla="*/ 2723131 h 3048000"/>
                <a:gd name="connsiteX46" fmla="*/ 447675 w 1057275"/>
                <a:gd name="connsiteY46" fmla="*/ 2315594 h 3048000"/>
                <a:gd name="connsiteX47" fmla="*/ 609600 w 1057275"/>
                <a:gd name="connsiteY47" fmla="*/ 2153669 h 3048000"/>
                <a:gd name="connsiteX48" fmla="*/ 609600 w 1057275"/>
                <a:gd name="connsiteY48" fmla="*/ 2561206 h 3048000"/>
                <a:gd name="connsiteX49" fmla="*/ 609600 w 1057275"/>
                <a:gd name="connsiteY49" fmla="*/ 1951606 h 3048000"/>
                <a:gd name="connsiteX50" fmla="*/ 447675 w 1057275"/>
                <a:gd name="connsiteY50" fmla="*/ 2113531 h 3048000"/>
                <a:gd name="connsiteX51" fmla="*/ 447675 w 1057275"/>
                <a:gd name="connsiteY51" fmla="*/ 1705994 h 3048000"/>
                <a:gd name="connsiteX52" fmla="*/ 609600 w 1057275"/>
                <a:gd name="connsiteY52" fmla="*/ 1544069 h 3048000"/>
                <a:gd name="connsiteX53" fmla="*/ 609600 w 1057275"/>
                <a:gd name="connsiteY53" fmla="*/ 1951606 h 3048000"/>
                <a:gd name="connsiteX54" fmla="*/ 609600 w 1057275"/>
                <a:gd name="connsiteY54" fmla="*/ 1342006 h 3048000"/>
                <a:gd name="connsiteX55" fmla="*/ 447675 w 1057275"/>
                <a:gd name="connsiteY55" fmla="*/ 1503931 h 3048000"/>
                <a:gd name="connsiteX56" fmla="*/ 447675 w 1057275"/>
                <a:gd name="connsiteY56" fmla="*/ 1096394 h 3048000"/>
                <a:gd name="connsiteX57" fmla="*/ 609600 w 1057275"/>
                <a:gd name="connsiteY57" fmla="*/ 934469 h 3048000"/>
                <a:gd name="connsiteX58" fmla="*/ 609600 w 1057275"/>
                <a:gd name="connsiteY58" fmla="*/ 1342006 h 3048000"/>
                <a:gd name="connsiteX59" fmla="*/ 609600 w 1057275"/>
                <a:gd name="connsiteY59" fmla="*/ 732406 h 3048000"/>
                <a:gd name="connsiteX60" fmla="*/ 447675 w 1057275"/>
                <a:gd name="connsiteY60" fmla="*/ 894331 h 3048000"/>
                <a:gd name="connsiteX61" fmla="*/ 447675 w 1057275"/>
                <a:gd name="connsiteY61" fmla="*/ 486794 h 3048000"/>
                <a:gd name="connsiteX62" fmla="*/ 609600 w 1057275"/>
                <a:gd name="connsiteY62" fmla="*/ 324869 h 3048000"/>
                <a:gd name="connsiteX63" fmla="*/ 609600 w 1057275"/>
                <a:gd name="connsiteY63" fmla="*/ 732406 h 3048000"/>
                <a:gd name="connsiteX64" fmla="*/ 914400 w 1057275"/>
                <a:gd name="connsiteY64" fmla="*/ 2418331 h 3048000"/>
                <a:gd name="connsiteX65" fmla="*/ 752475 w 1057275"/>
                <a:gd name="connsiteY65" fmla="*/ 2256406 h 3048000"/>
                <a:gd name="connsiteX66" fmla="*/ 752475 w 1057275"/>
                <a:gd name="connsiteY66" fmla="*/ 1848869 h 3048000"/>
                <a:gd name="connsiteX67" fmla="*/ 914400 w 1057275"/>
                <a:gd name="connsiteY67" fmla="*/ 2010794 h 3048000"/>
                <a:gd name="connsiteX68" fmla="*/ 914400 w 1057275"/>
                <a:gd name="connsiteY68" fmla="*/ 2418331 h 3048000"/>
                <a:gd name="connsiteX69" fmla="*/ 914400 w 1057275"/>
                <a:gd name="connsiteY69" fmla="*/ 1808731 h 3048000"/>
                <a:gd name="connsiteX70" fmla="*/ 752475 w 1057275"/>
                <a:gd name="connsiteY70" fmla="*/ 1646806 h 3048000"/>
                <a:gd name="connsiteX71" fmla="*/ 752475 w 1057275"/>
                <a:gd name="connsiteY71" fmla="*/ 1239269 h 3048000"/>
                <a:gd name="connsiteX72" fmla="*/ 914400 w 1057275"/>
                <a:gd name="connsiteY72" fmla="*/ 1401194 h 3048000"/>
                <a:gd name="connsiteX73" fmla="*/ 914400 w 1057275"/>
                <a:gd name="connsiteY73" fmla="*/ 1808731 h 3048000"/>
                <a:gd name="connsiteX74" fmla="*/ 914400 w 1057275"/>
                <a:gd name="connsiteY74" fmla="*/ 1199131 h 3048000"/>
                <a:gd name="connsiteX75" fmla="*/ 752475 w 1057275"/>
                <a:gd name="connsiteY75" fmla="*/ 1037206 h 3048000"/>
                <a:gd name="connsiteX76" fmla="*/ 752475 w 1057275"/>
                <a:gd name="connsiteY76" fmla="*/ 629669 h 3048000"/>
                <a:gd name="connsiteX77" fmla="*/ 914400 w 1057275"/>
                <a:gd name="connsiteY77" fmla="*/ 791594 h 3048000"/>
                <a:gd name="connsiteX78" fmla="*/ 914400 w 1057275"/>
                <a:gd name="connsiteY78" fmla="*/ 1199131 h 30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057275" h="3048000">
                  <a:moveTo>
                    <a:pt x="914400" y="381000"/>
                  </a:moveTo>
                  <a:lnTo>
                    <a:pt x="914400" y="589531"/>
                  </a:lnTo>
                  <a:lnTo>
                    <a:pt x="752475" y="427606"/>
                  </a:lnTo>
                  <a:lnTo>
                    <a:pt x="752475" y="0"/>
                  </a:lnTo>
                  <a:lnTo>
                    <a:pt x="609600" y="0"/>
                  </a:lnTo>
                  <a:lnTo>
                    <a:pt x="609600" y="122806"/>
                  </a:lnTo>
                  <a:lnTo>
                    <a:pt x="447675" y="284731"/>
                  </a:lnTo>
                  <a:lnTo>
                    <a:pt x="447675" y="0"/>
                  </a:lnTo>
                  <a:lnTo>
                    <a:pt x="304800" y="0"/>
                  </a:lnTo>
                  <a:lnTo>
                    <a:pt x="304800" y="589531"/>
                  </a:lnTo>
                  <a:lnTo>
                    <a:pt x="142875" y="427606"/>
                  </a:lnTo>
                  <a:lnTo>
                    <a:pt x="142875" y="0"/>
                  </a:lnTo>
                  <a:lnTo>
                    <a:pt x="0" y="0"/>
                  </a:lnTo>
                  <a:lnTo>
                    <a:pt x="0" y="2667000"/>
                  </a:lnTo>
                  <a:lnTo>
                    <a:pt x="142875" y="2667000"/>
                  </a:lnTo>
                  <a:lnTo>
                    <a:pt x="142875" y="2458469"/>
                  </a:lnTo>
                  <a:lnTo>
                    <a:pt x="304800" y="2620394"/>
                  </a:lnTo>
                  <a:lnTo>
                    <a:pt x="304800" y="3048000"/>
                  </a:lnTo>
                  <a:lnTo>
                    <a:pt x="447675" y="3048000"/>
                  </a:lnTo>
                  <a:lnTo>
                    <a:pt x="447675" y="2925194"/>
                  </a:lnTo>
                  <a:lnTo>
                    <a:pt x="609600" y="2763269"/>
                  </a:lnTo>
                  <a:lnTo>
                    <a:pt x="609600" y="3048000"/>
                  </a:lnTo>
                  <a:lnTo>
                    <a:pt x="752475" y="3048000"/>
                  </a:lnTo>
                  <a:lnTo>
                    <a:pt x="752475" y="2458469"/>
                  </a:lnTo>
                  <a:lnTo>
                    <a:pt x="914400" y="2620394"/>
                  </a:lnTo>
                  <a:lnTo>
                    <a:pt x="914400" y="3048000"/>
                  </a:lnTo>
                  <a:lnTo>
                    <a:pt x="1057275" y="3048000"/>
                  </a:lnTo>
                  <a:lnTo>
                    <a:pt x="1057275" y="381000"/>
                  </a:lnTo>
                  <a:lnTo>
                    <a:pt x="914400" y="381000"/>
                  </a:lnTo>
                  <a:close/>
                  <a:moveTo>
                    <a:pt x="304800" y="2418331"/>
                  </a:moveTo>
                  <a:lnTo>
                    <a:pt x="142875" y="2256406"/>
                  </a:lnTo>
                  <a:lnTo>
                    <a:pt x="142875" y="1848869"/>
                  </a:lnTo>
                  <a:lnTo>
                    <a:pt x="304800" y="2010794"/>
                  </a:lnTo>
                  <a:lnTo>
                    <a:pt x="304800" y="2418331"/>
                  </a:lnTo>
                  <a:close/>
                  <a:moveTo>
                    <a:pt x="304800" y="1808731"/>
                  </a:moveTo>
                  <a:lnTo>
                    <a:pt x="142875" y="1646806"/>
                  </a:lnTo>
                  <a:lnTo>
                    <a:pt x="142875" y="1239269"/>
                  </a:lnTo>
                  <a:lnTo>
                    <a:pt x="304800" y="1401194"/>
                  </a:lnTo>
                  <a:lnTo>
                    <a:pt x="304800" y="1808731"/>
                  </a:lnTo>
                  <a:close/>
                  <a:moveTo>
                    <a:pt x="304800" y="1199131"/>
                  </a:moveTo>
                  <a:lnTo>
                    <a:pt x="142875" y="1037206"/>
                  </a:lnTo>
                  <a:lnTo>
                    <a:pt x="142875" y="629669"/>
                  </a:lnTo>
                  <a:lnTo>
                    <a:pt x="304800" y="791594"/>
                  </a:lnTo>
                  <a:lnTo>
                    <a:pt x="304800" y="1199131"/>
                  </a:lnTo>
                  <a:close/>
                  <a:moveTo>
                    <a:pt x="609600" y="2561206"/>
                  </a:moveTo>
                  <a:lnTo>
                    <a:pt x="447675" y="2723131"/>
                  </a:lnTo>
                  <a:lnTo>
                    <a:pt x="447675" y="2315594"/>
                  </a:lnTo>
                  <a:lnTo>
                    <a:pt x="609600" y="2153669"/>
                  </a:lnTo>
                  <a:lnTo>
                    <a:pt x="609600" y="2561206"/>
                  </a:lnTo>
                  <a:close/>
                  <a:moveTo>
                    <a:pt x="609600" y="1951606"/>
                  </a:moveTo>
                  <a:lnTo>
                    <a:pt x="447675" y="2113531"/>
                  </a:lnTo>
                  <a:lnTo>
                    <a:pt x="447675" y="1705994"/>
                  </a:lnTo>
                  <a:lnTo>
                    <a:pt x="609600" y="1544069"/>
                  </a:lnTo>
                  <a:lnTo>
                    <a:pt x="609600" y="1951606"/>
                  </a:lnTo>
                  <a:close/>
                  <a:moveTo>
                    <a:pt x="609600" y="1342006"/>
                  </a:moveTo>
                  <a:lnTo>
                    <a:pt x="447675" y="1503931"/>
                  </a:lnTo>
                  <a:lnTo>
                    <a:pt x="447675" y="1096394"/>
                  </a:lnTo>
                  <a:lnTo>
                    <a:pt x="609600" y="934469"/>
                  </a:lnTo>
                  <a:lnTo>
                    <a:pt x="609600" y="1342006"/>
                  </a:lnTo>
                  <a:close/>
                  <a:moveTo>
                    <a:pt x="609600" y="732406"/>
                  </a:moveTo>
                  <a:lnTo>
                    <a:pt x="447675" y="894331"/>
                  </a:lnTo>
                  <a:lnTo>
                    <a:pt x="447675" y="486794"/>
                  </a:lnTo>
                  <a:lnTo>
                    <a:pt x="609600" y="324869"/>
                  </a:lnTo>
                  <a:lnTo>
                    <a:pt x="609600" y="732406"/>
                  </a:lnTo>
                  <a:close/>
                  <a:moveTo>
                    <a:pt x="914400" y="2418331"/>
                  </a:moveTo>
                  <a:lnTo>
                    <a:pt x="752475" y="2256406"/>
                  </a:lnTo>
                  <a:lnTo>
                    <a:pt x="752475" y="1848869"/>
                  </a:lnTo>
                  <a:lnTo>
                    <a:pt x="914400" y="2010794"/>
                  </a:lnTo>
                  <a:lnTo>
                    <a:pt x="914400" y="2418331"/>
                  </a:lnTo>
                  <a:close/>
                  <a:moveTo>
                    <a:pt x="914400" y="1808731"/>
                  </a:moveTo>
                  <a:lnTo>
                    <a:pt x="752475" y="1646806"/>
                  </a:lnTo>
                  <a:lnTo>
                    <a:pt x="752475" y="1239269"/>
                  </a:lnTo>
                  <a:lnTo>
                    <a:pt x="914400" y="1401194"/>
                  </a:lnTo>
                  <a:lnTo>
                    <a:pt x="914400" y="1808731"/>
                  </a:lnTo>
                  <a:close/>
                  <a:moveTo>
                    <a:pt x="914400" y="1199131"/>
                  </a:moveTo>
                  <a:lnTo>
                    <a:pt x="752475" y="1037206"/>
                  </a:lnTo>
                  <a:lnTo>
                    <a:pt x="752475" y="629669"/>
                  </a:lnTo>
                  <a:lnTo>
                    <a:pt x="914400" y="791594"/>
                  </a:lnTo>
                  <a:lnTo>
                    <a:pt x="914400" y="11991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B6FF7B0-934C-42F9-9631-E5943F02C4BD}"/>
                </a:ext>
              </a:extLst>
            </p:cNvPr>
            <p:cNvSpPr/>
            <p:nvPr/>
          </p:nvSpPr>
          <p:spPr>
            <a:xfrm>
              <a:off x="6326187" y="15668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D7730E6-41A8-41D0-9141-6A94BC1B1742}"/>
              </a:ext>
            </a:extLst>
          </p:cNvPr>
          <p:cNvCxnSpPr>
            <a:cxnSpLocks/>
          </p:cNvCxnSpPr>
          <p:nvPr/>
        </p:nvCxnSpPr>
        <p:spPr>
          <a:xfrm flipV="1">
            <a:off x="2474359" y="2699887"/>
            <a:ext cx="918388" cy="57606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owchart: Or 22">
            <a:extLst>
              <a:ext uri="{FF2B5EF4-FFF2-40B4-BE49-F238E27FC236}">
                <a16:creationId xmlns:a16="http://schemas.microsoft.com/office/drawing/2014/main" id="{EFA7A0C7-D12F-45EB-B4BE-B20EDC1BC957}"/>
              </a:ext>
            </a:extLst>
          </p:cNvPr>
          <p:cNvSpPr/>
          <p:nvPr/>
        </p:nvSpPr>
        <p:spPr>
          <a:xfrm>
            <a:off x="2861545" y="2915911"/>
            <a:ext cx="144016" cy="144016"/>
          </a:xfrm>
          <a:prstGeom prst="flowChartOr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63589EFF-749B-4CA5-BEE2-9602756E41DD}"/>
              </a:ext>
            </a:extLst>
          </p:cNvPr>
          <p:cNvSpPr/>
          <p:nvPr/>
        </p:nvSpPr>
        <p:spPr>
          <a:xfrm>
            <a:off x="3381334" y="2637792"/>
            <a:ext cx="72008" cy="7156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03CE7F4-60D2-4A2A-B525-635C5D5039E9}"/>
              </a:ext>
            </a:extLst>
          </p:cNvPr>
          <p:cNvGrpSpPr/>
          <p:nvPr/>
        </p:nvGrpSpPr>
        <p:grpSpPr>
          <a:xfrm rot="5400000">
            <a:off x="3762862" y="2399816"/>
            <a:ext cx="249065" cy="507978"/>
            <a:chOff x="5106987" y="1347788"/>
            <a:chExt cx="1666875" cy="3495675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CCC5BEB-D882-453C-BBD6-5D18109290B7}"/>
                </a:ext>
              </a:extLst>
            </p:cNvPr>
            <p:cNvSpPr/>
            <p:nvPr/>
          </p:nvSpPr>
          <p:spPr>
            <a:xfrm>
              <a:off x="5106987" y="1347788"/>
              <a:ext cx="1666875" cy="3495675"/>
            </a:xfrm>
            <a:custGeom>
              <a:avLst/>
              <a:gdLst>
                <a:gd name="connsiteX0" fmla="*/ 1290638 w 1666875"/>
                <a:gd name="connsiteY0" fmla="*/ 0 h 3495675"/>
                <a:gd name="connsiteX1" fmla="*/ 376238 w 1666875"/>
                <a:gd name="connsiteY1" fmla="*/ 0 h 3495675"/>
                <a:gd name="connsiteX2" fmla="*/ 0 w 1666875"/>
                <a:gd name="connsiteY2" fmla="*/ 376238 h 3495675"/>
                <a:gd name="connsiteX3" fmla="*/ 0 w 1666875"/>
                <a:gd name="connsiteY3" fmla="*/ 3119438 h 3495675"/>
                <a:gd name="connsiteX4" fmla="*/ 376238 w 1666875"/>
                <a:gd name="connsiteY4" fmla="*/ 3495675 h 3495675"/>
                <a:gd name="connsiteX5" fmla="*/ 1290638 w 1666875"/>
                <a:gd name="connsiteY5" fmla="*/ 3495675 h 3495675"/>
                <a:gd name="connsiteX6" fmla="*/ 1666875 w 1666875"/>
                <a:gd name="connsiteY6" fmla="*/ 3119438 h 3495675"/>
                <a:gd name="connsiteX7" fmla="*/ 1666875 w 1666875"/>
                <a:gd name="connsiteY7" fmla="*/ 376238 h 3495675"/>
                <a:gd name="connsiteX8" fmla="*/ 1290638 w 1666875"/>
                <a:gd name="connsiteY8" fmla="*/ 0 h 3495675"/>
                <a:gd name="connsiteX9" fmla="*/ 1524000 w 1666875"/>
                <a:gd name="connsiteY9" fmla="*/ 3119438 h 3495675"/>
                <a:gd name="connsiteX10" fmla="*/ 1290638 w 1666875"/>
                <a:gd name="connsiteY10" fmla="*/ 3352800 h 3495675"/>
                <a:gd name="connsiteX11" fmla="*/ 376238 w 1666875"/>
                <a:gd name="connsiteY11" fmla="*/ 3352800 h 3495675"/>
                <a:gd name="connsiteX12" fmla="*/ 142875 w 1666875"/>
                <a:gd name="connsiteY12" fmla="*/ 3119438 h 3495675"/>
                <a:gd name="connsiteX13" fmla="*/ 142875 w 1666875"/>
                <a:gd name="connsiteY13" fmla="*/ 376238 h 3495675"/>
                <a:gd name="connsiteX14" fmla="*/ 376238 w 1666875"/>
                <a:gd name="connsiteY14" fmla="*/ 142875 h 3495675"/>
                <a:gd name="connsiteX15" fmla="*/ 1290638 w 1666875"/>
                <a:gd name="connsiteY15" fmla="*/ 142875 h 3495675"/>
                <a:gd name="connsiteX16" fmla="*/ 1524000 w 1666875"/>
                <a:gd name="connsiteY16" fmla="*/ 376238 h 3495675"/>
                <a:gd name="connsiteX17" fmla="*/ 1524000 w 1666875"/>
                <a:gd name="connsiteY17" fmla="*/ 3119438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66875" h="3495675">
                  <a:moveTo>
                    <a:pt x="1290638" y="0"/>
                  </a:moveTo>
                  <a:lnTo>
                    <a:pt x="376238" y="0"/>
                  </a:lnTo>
                  <a:cubicBezTo>
                    <a:pt x="168450" y="0"/>
                    <a:pt x="0" y="168450"/>
                    <a:pt x="0" y="376238"/>
                  </a:cubicBezTo>
                  <a:lnTo>
                    <a:pt x="0" y="3119438"/>
                  </a:lnTo>
                  <a:cubicBezTo>
                    <a:pt x="0" y="3327226"/>
                    <a:pt x="168450" y="3495675"/>
                    <a:pt x="376238" y="3495675"/>
                  </a:cubicBezTo>
                  <a:lnTo>
                    <a:pt x="1290638" y="3495675"/>
                  </a:lnTo>
                  <a:cubicBezTo>
                    <a:pt x="1498425" y="3495675"/>
                    <a:pt x="1666875" y="3327226"/>
                    <a:pt x="1666875" y="3119438"/>
                  </a:cubicBezTo>
                  <a:lnTo>
                    <a:pt x="1666875" y="376238"/>
                  </a:lnTo>
                  <a:cubicBezTo>
                    <a:pt x="1666875" y="168450"/>
                    <a:pt x="1498425" y="0"/>
                    <a:pt x="1290638" y="0"/>
                  </a:cubicBezTo>
                  <a:close/>
                  <a:moveTo>
                    <a:pt x="1524000" y="3119438"/>
                  </a:moveTo>
                  <a:cubicBezTo>
                    <a:pt x="1524000" y="3248320"/>
                    <a:pt x="1419520" y="3352800"/>
                    <a:pt x="1290638" y="3352800"/>
                  </a:cubicBezTo>
                  <a:lnTo>
                    <a:pt x="376238" y="3352800"/>
                  </a:lnTo>
                  <a:cubicBezTo>
                    <a:pt x="247355" y="3352800"/>
                    <a:pt x="142875" y="3248320"/>
                    <a:pt x="142875" y="3119438"/>
                  </a:cubicBezTo>
                  <a:lnTo>
                    <a:pt x="142875" y="376238"/>
                  </a:lnTo>
                  <a:cubicBezTo>
                    <a:pt x="142875" y="247355"/>
                    <a:pt x="247355" y="142875"/>
                    <a:pt x="376238" y="142875"/>
                  </a:cubicBezTo>
                  <a:lnTo>
                    <a:pt x="1290638" y="142875"/>
                  </a:lnTo>
                  <a:cubicBezTo>
                    <a:pt x="1419520" y="142875"/>
                    <a:pt x="1524000" y="247355"/>
                    <a:pt x="1524000" y="376238"/>
                  </a:cubicBezTo>
                  <a:lnTo>
                    <a:pt x="1524000" y="311943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53DEDE9-C202-4A6E-9DE0-6B1D3C37C133}"/>
                </a:ext>
              </a:extLst>
            </p:cNvPr>
            <p:cNvSpPr/>
            <p:nvPr/>
          </p:nvSpPr>
          <p:spPr>
            <a:xfrm>
              <a:off x="5411787" y="44624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A79AA51-3F9D-4122-82A9-68FCBB1F92BF}"/>
                </a:ext>
              </a:extLst>
            </p:cNvPr>
            <p:cNvSpPr/>
            <p:nvPr/>
          </p:nvSpPr>
          <p:spPr>
            <a:xfrm>
              <a:off x="5411787" y="1566863"/>
              <a:ext cx="1057275" cy="3048000"/>
            </a:xfrm>
            <a:custGeom>
              <a:avLst/>
              <a:gdLst>
                <a:gd name="connsiteX0" fmla="*/ 914400 w 1057275"/>
                <a:gd name="connsiteY0" fmla="*/ 381000 h 3048000"/>
                <a:gd name="connsiteX1" fmla="*/ 914400 w 1057275"/>
                <a:gd name="connsiteY1" fmla="*/ 589531 h 3048000"/>
                <a:gd name="connsiteX2" fmla="*/ 752475 w 1057275"/>
                <a:gd name="connsiteY2" fmla="*/ 427606 h 3048000"/>
                <a:gd name="connsiteX3" fmla="*/ 752475 w 1057275"/>
                <a:gd name="connsiteY3" fmla="*/ 0 h 3048000"/>
                <a:gd name="connsiteX4" fmla="*/ 609600 w 1057275"/>
                <a:gd name="connsiteY4" fmla="*/ 0 h 3048000"/>
                <a:gd name="connsiteX5" fmla="*/ 609600 w 1057275"/>
                <a:gd name="connsiteY5" fmla="*/ 122806 h 3048000"/>
                <a:gd name="connsiteX6" fmla="*/ 447675 w 1057275"/>
                <a:gd name="connsiteY6" fmla="*/ 284731 h 3048000"/>
                <a:gd name="connsiteX7" fmla="*/ 447675 w 1057275"/>
                <a:gd name="connsiteY7" fmla="*/ 0 h 3048000"/>
                <a:gd name="connsiteX8" fmla="*/ 304800 w 1057275"/>
                <a:gd name="connsiteY8" fmla="*/ 0 h 3048000"/>
                <a:gd name="connsiteX9" fmla="*/ 304800 w 1057275"/>
                <a:gd name="connsiteY9" fmla="*/ 589531 h 3048000"/>
                <a:gd name="connsiteX10" fmla="*/ 142875 w 1057275"/>
                <a:gd name="connsiteY10" fmla="*/ 427606 h 3048000"/>
                <a:gd name="connsiteX11" fmla="*/ 142875 w 1057275"/>
                <a:gd name="connsiteY11" fmla="*/ 0 h 3048000"/>
                <a:gd name="connsiteX12" fmla="*/ 0 w 1057275"/>
                <a:gd name="connsiteY12" fmla="*/ 0 h 3048000"/>
                <a:gd name="connsiteX13" fmla="*/ 0 w 1057275"/>
                <a:gd name="connsiteY13" fmla="*/ 2667000 h 3048000"/>
                <a:gd name="connsiteX14" fmla="*/ 142875 w 1057275"/>
                <a:gd name="connsiteY14" fmla="*/ 2667000 h 3048000"/>
                <a:gd name="connsiteX15" fmla="*/ 142875 w 1057275"/>
                <a:gd name="connsiteY15" fmla="*/ 2458469 h 3048000"/>
                <a:gd name="connsiteX16" fmla="*/ 304800 w 1057275"/>
                <a:gd name="connsiteY16" fmla="*/ 2620394 h 3048000"/>
                <a:gd name="connsiteX17" fmla="*/ 304800 w 1057275"/>
                <a:gd name="connsiteY17" fmla="*/ 3048000 h 3048000"/>
                <a:gd name="connsiteX18" fmla="*/ 447675 w 1057275"/>
                <a:gd name="connsiteY18" fmla="*/ 3048000 h 3048000"/>
                <a:gd name="connsiteX19" fmla="*/ 447675 w 1057275"/>
                <a:gd name="connsiteY19" fmla="*/ 2925194 h 3048000"/>
                <a:gd name="connsiteX20" fmla="*/ 609600 w 1057275"/>
                <a:gd name="connsiteY20" fmla="*/ 2763269 h 3048000"/>
                <a:gd name="connsiteX21" fmla="*/ 609600 w 1057275"/>
                <a:gd name="connsiteY21" fmla="*/ 3048000 h 3048000"/>
                <a:gd name="connsiteX22" fmla="*/ 752475 w 1057275"/>
                <a:gd name="connsiteY22" fmla="*/ 3048000 h 3048000"/>
                <a:gd name="connsiteX23" fmla="*/ 752475 w 1057275"/>
                <a:gd name="connsiteY23" fmla="*/ 2458469 h 3048000"/>
                <a:gd name="connsiteX24" fmla="*/ 914400 w 1057275"/>
                <a:gd name="connsiteY24" fmla="*/ 2620394 h 3048000"/>
                <a:gd name="connsiteX25" fmla="*/ 914400 w 1057275"/>
                <a:gd name="connsiteY25" fmla="*/ 3048000 h 3048000"/>
                <a:gd name="connsiteX26" fmla="*/ 1057275 w 1057275"/>
                <a:gd name="connsiteY26" fmla="*/ 3048000 h 3048000"/>
                <a:gd name="connsiteX27" fmla="*/ 1057275 w 1057275"/>
                <a:gd name="connsiteY27" fmla="*/ 381000 h 3048000"/>
                <a:gd name="connsiteX28" fmla="*/ 914400 w 1057275"/>
                <a:gd name="connsiteY28" fmla="*/ 381000 h 3048000"/>
                <a:gd name="connsiteX29" fmla="*/ 304800 w 1057275"/>
                <a:gd name="connsiteY29" fmla="*/ 2418331 h 3048000"/>
                <a:gd name="connsiteX30" fmla="*/ 142875 w 1057275"/>
                <a:gd name="connsiteY30" fmla="*/ 2256406 h 3048000"/>
                <a:gd name="connsiteX31" fmla="*/ 142875 w 1057275"/>
                <a:gd name="connsiteY31" fmla="*/ 1848869 h 3048000"/>
                <a:gd name="connsiteX32" fmla="*/ 304800 w 1057275"/>
                <a:gd name="connsiteY32" fmla="*/ 2010794 h 3048000"/>
                <a:gd name="connsiteX33" fmla="*/ 304800 w 1057275"/>
                <a:gd name="connsiteY33" fmla="*/ 2418331 h 3048000"/>
                <a:gd name="connsiteX34" fmla="*/ 304800 w 1057275"/>
                <a:gd name="connsiteY34" fmla="*/ 1808731 h 3048000"/>
                <a:gd name="connsiteX35" fmla="*/ 142875 w 1057275"/>
                <a:gd name="connsiteY35" fmla="*/ 1646806 h 3048000"/>
                <a:gd name="connsiteX36" fmla="*/ 142875 w 1057275"/>
                <a:gd name="connsiteY36" fmla="*/ 1239269 h 3048000"/>
                <a:gd name="connsiteX37" fmla="*/ 304800 w 1057275"/>
                <a:gd name="connsiteY37" fmla="*/ 1401194 h 3048000"/>
                <a:gd name="connsiteX38" fmla="*/ 304800 w 1057275"/>
                <a:gd name="connsiteY38" fmla="*/ 1808731 h 3048000"/>
                <a:gd name="connsiteX39" fmla="*/ 304800 w 1057275"/>
                <a:gd name="connsiteY39" fmla="*/ 1199131 h 3048000"/>
                <a:gd name="connsiteX40" fmla="*/ 142875 w 1057275"/>
                <a:gd name="connsiteY40" fmla="*/ 1037206 h 3048000"/>
                <a:gd name="connsiteX41" fmla="*/ 142875 w 1057275"/>
                <a:gd name="connsiteY41" fmla="*/ 629669 h 3048000"/>
                <a:gd name="connsiteX42" fmla="*/ 304800 w 1057275"/>
                <a:gd name="connsiteY42" fmla="*/ 791594 h 3048000"/>
                <a:gd name="connsiteX43" fmla="*/ 304800 w 1057275"/>
                <a:gd name="connsiteY43" fmla="*/ 1199131 h 3048000"/>
                <a:gd name="connsiteX44" fmla="*/ 609600 w 1057275"/>
                <a:gd name="connsiteY44" fmla="*/ 2561206 h 3048000"/>
                <a:gd name="connsiteX45" fmla="*/ 447675 w 1057275"/>
                <a:gd name="connsiteY45" fmla="*/ 2723131 h 3048000"/>
                <a:gd name="connsiteX46" fmla="*/ 447675 w 1057275"/>
                <a:gd name="connsiteY46" fmla="*/ 2315594 h 3048000"/>
                <a:gd name="connsiteX47" fmla="*/ 609600 w 1057275"/>
                <a:gd name="connsiteY47" fmla="*/ 2153669 h 3048000"/>
                <a:gd name="connsiteX48" fmla="*/ 609600 w 1057275"/>
                <a:gd name="connsiteY48" fmla="*/ 2561206 h 3048000"/>
                <a:gd name="connsiteX49" fmla="*/ 609600 w 1057275"/>
                <a:gd name="connsiteY49" fmla="*/ 1951606 h 3048000"/>
                <a:gd name="connsiteX50" fmla="*/ 447675 w 1057275"/>
                <a:gd name="connsiteY50" fmla="*/ 2113531 h 3048000"/>
                <a:gd name="connsiteX51" fmla="*/ 447675 w 1057275"/>
                <a:gd name="connsiteY51" fmla="*/ 1705994 h 3048000"/>
                <a:gd name="connsiteX52" fmla="*/ 609600 w 1057275"/>
                <a:gd name="connsiteY52" fmla="*/ 1544069 h 3048000"/>
                <a:gd name="connsiteX53" fmla="*/ 609600 w 1057275"/>
                <a:gd name="connsiteY53" fmla="*/ 1951606 h 3048000"/>
                <a:gd name="connsiteX54" fmla="*/ 609600 w 1057275"/>
                <a:gd name="connsiteY54" fmla="*/ 1342006 h 3048000"/>
                <a:gd name="connsiteX55" fmla="*/ 447675 w 1057275"/>
                <a:gd name="connsiteY55" fmla="*/ 1503931 h 3048000"/>
                <a:gd name="connsiteX56" fmla="*/ 447675 w 1057275"/>
                <a:gd name="connsiteY56" fmla="*/ 1096394 h 3048000"/>
                <a:gd name="connsiteX57" fmla="*/ 609600 w 1057275"/>
                <a:gd name="connsiteY57" fmla="*/ 934469 h 3048000"/>
                <a:gd name="connsiteX58" fmla="*/ 609600 w 1057275"/>
                <a:gd name="connsiteY58" fmla="*/ 1342006 h 3048000"/>
                <a:gd name="connsiteX59" fmla="*/ 609600 w 1057275"/>
                <a:gd name="connsiteY59" fmla="*/ 732406 h 3048000"/>
                <a:gd name="connsiteX60" fmla="*/ 447675 w 1057275"/>
                <a:gd name="connsiteY60" fmla="*/ 894331 h 3048000"/>
                <a:gd name="connsiteX61" fmla="*/ 447675 w 1057275"/>
                <a:gd name="connsiteY61" fmla="*/ 486794 h 3048000"/>
                <a:gd name="connsiteX62" fmla="*/ 609600 w 1057275"/>
                <a:gd name="connsiteY62" fmla="*/ 324869 h 3048000"/>
                <a:gd name="connsiteX63" fmla="*/ 609600 w 1057275"/>
                <a:gd name="connsiteY63" fmla="*/ 732406 h 3048000"/>
                <a:gd name="connsiteX64" fmla="*/ 914400 w 1057275"/>
                <a:gd name="connsiteY64" fmla="*/ 2418331 h 3048000"/>
                <a:gd name="connsiteX65" fmla="*/ 752475 w 1057275"/>
                <a:gd name="connsiteY65" fmla="*/ 2256406 h 3048000"/>
                <a:gd name="connsiteX66" fmla="*/ 752475 w 1057275"/>
                <a:gd name="connsiteY66" fmla="*/ 1848869 h 3048000"/>
                <a:gd name="connsiteX67" fmla="*/ 914400 w 1057275"/>
                <a:gd name="connsiteY67" fmla="*/ 2010794 h 3048000"/>
                <a:gd name="connsiteX68" fmla="*/ 914400 w 1057275"/>
                <a:gd name="connsiteY68" fmla="*/ 2418331 h 3048000"/>
                <a:gd name="connsiteX69" fmla="*/ 914400 w 1057275"/>
                <a:gd name="connsiteY69" fmla="*/ 1808731 h 3048000"/>
                <a:gd name="connsiteX70" fmla="*/ 752475 w 1057275"/>
                <a:gd name="connsiteY70" fmla="*/ 1646806 h 3048000"/>
                <a:gd name="connsiteX71" fmla="*/ 752475 w 1057275"/>
                <a:gd name="connsiteY71" fmla="*/ 1239269 h 3048000"/>
                <a:gd name="connsiteX72" fmla="*/ 914400 w 1057275"/>
                <a:gd name="connsiteY72" fmla="*/ 1401194 h 3048000"/>
                <a:gd name="connsiteX73" fmla="*/ 914400 w 1057275"/>
                <a:gd name="connsiteY73" fmla="*/ 1808731 h 3048000"/>
                <a:gd name="connsiteX74" fmla="*/ 914400 w 1057275"/>
                <a:gd name="connsiteY74" fmla="*/ 1199131 h 3048000"/>
                <a:gd name="connsiteX75" fmla="*/ 752475 w 1057275"/>
                <a:gd name="connsiteY75" fmla="*/ 1037206 h 3048000"/>
                <a:gd name="connsiteX76" fmla="*/ 752475 w 1057275"/>
                <a:gd name="connsiteY76" fmla="*/ 629669 h 3048000"/>
                <a:gd name="connsiteX77" fmla="*/ 914400 w 1057275"/>
                <a:gd name="connsiteY77" fmla="*/ 791594 h 3048000"/>
                <a:gd name="connsiteX78" fmla="*/ 914400 w 1057275"/>
                <a:gd name="connsiteY78" fmla="*/ 1199131 h 30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057275" h="3048000">
                  <a:moveTo>
                    <a:pt x="914400" y="381000"/>
                  </a:moveTo>
                  <a:lnTo>
                    <a:pt x="914400" y="589531"/>
                  </a:lnTo>
                  <a:lnTo>
                    <a:pt x="752475" y="427606"/>
                  </a:lnTo>
                  <a:lnTo>
                    <a:pt x="752475" y="0"/>
                  </a:lnTo>
                  <a:lnTo>
                    <a:pt x="609600" y="0"/>
                  </a:lnTo>
                  <a:lnTo>
                    <a:pt x="609600" y="122806"/>
                  </a:lnTo>
                  <a:lnTo>
                    <a:pt x="447675" y="284731"/>
                  </a:lnTo>
                  <a:lnTo>
                    <a:pt x="447675" y="0"/>
                  </a:lnTo>
                  <a:lnTo>
                    <a:pt x="304800" y="0"/>
                  </a:lnTo>
                  <a:lnTo>
                    <a:pt x="304800" y="589531"/>
                  </a:lnTo>
                  <a:lnTo>
                    <a:pt x="142875" y="427606"/>
                  </a:lnTo>
                  <a:lnTo>
                    <a:pt x="142875" y="0"/>
                  </a:lnTo>
                  <a:lnTo>
                    <a:pt x="0" y="0"/>
                  </a:lnTo>
                  <a:lnTo>
                    <a:pt x="0" y="2667000"/>
                  </a:lnTo>
                  <a:lnTo>
                    <a:pt x="142875" y="2667000"/>
                  </a:lnTo>
                  <a:lnTo>
                    <a:pt x="142875" y="2458469"/>
                  </a:lnTo>
                  <a:lnTo>
                    <a:pt x="304800" y="2620394"/>
                  </a:lnTo>
                  <a:lnTo>
                    <a:pt x="304800" y="3048000"/>
                  </a:lnTo>
                  <a:lnTo>
                    <a:pt x="447675" y="3048000"/>
                  </a:lnTo>
                  <a:lnTo>
                    <a:pt x="447675" y="2925194"/>
                  </a:lnTo>
                  <a:lnTo>
                    <a:pt x="609600" y="2763269"/>
                  </a:lnTo>
                  <a:lnTo>
                    <a:pt x="609600" y="3048000"/>
                  </a:lnTo>
                  <a:lnTo>
                    <a:pt x="752475" y="3048000"/>
                  </a:lnTo>
                  <a:lnTo>
                    <a:pt x="752475" y="2458469"/>
                  </a:lnTo>
                  <a:lnTo>
                    <a:pt x="914400" y="2620394"/>
                  </a:lnTo>
                  <a:lnTo>
                    <a:pt x="914400" y="3048000"/>
                  </a:lnTo>
                  <a:lnTo>
                    <a:pt x="1057275" y="3048000"/>
                  </a:lnTo>
                  <a:lnTo>
                    <a:pt x="1057275" y="381000"/>
                  </a:lnTo>
                  <a:lnTo>
                    <a:pt x="914400" y="381000"/>
                  </a:lnTo>
                  <a:close/>
                  <a:moveTo>
                    <a:pt x="304800" y="2418331"/>
                  </a:moveTo>
                  <a:lnTo>
                    <a:pt x="142875" y="2256406"/>
                  </a:lnTo>
                  <a:lnTo>
                    <a:pt x="142875" y="1848869"/>
                  </a:lnTo>
                  <a:lnTo>
                    <a:pt x="304800" y="2010794"/>
                  </a:lnTo>
                  <a:lnTo>
                    <a:pt x="304800" y="2418331"/>
                  </a:lnTo>
                  <a:close/>
                  <a:moveTo>
                    <a:pt x="304800" y="1808731"/>
                  </a:moveTo>
                  <a:lnTo>
                    <a:pt x="142875" y="1646806"/>
                  </a:lnTo>
                  <a:lnTo>
                    <a:pt x="142875" y="1239269"/>
                  </a:lnTo>
                  <a:lnTo>
                    <a:pt x="304800" y="1401194"/>
                  </a:lnTo>
                  <a:lnTo>
                    <a:pt x="304800" y="1808731"/>
                  </a:lnTo>
                  <a:close/>
                  <a:moveTo>
                    <a:pt x="304800" y="1199131"/>
                  </a:moveTo>
                  <a:lnTo>
                    <a:pt x="142875" y="1037206"/>
                  </a:lnTo>
                  <a:lnTo>
                    <a:pt x="142875" y="629669"/>
                  </a:lnTo>
                  <a:lnTo>
                    <a:pt x="304800" y="791594"/>
                  </a:lnTo>
                  <a:lnTo>
                    <a:pt x="304800" y="1199131"/>
                  </a:lnTo>
                  <a:close/>
                  <a:moveTo>
                    <a:pt x="609600" y="2561206"/>
                  </a:moveTo>
                  <a:lnTo>
                    <a:pt x="447675" y="2723131"/>
                  </a:lnTo>
                  <a:lnTo>
                    <a:pt x="447675" y="2315594"/>
                  </a:lnTo>
                  <a:lnTo>
                    <a:pt x="609600" y="2153669"/>
                  </a:lnTo>
                  <a:lnTo>
                    <a:pt x="609600" y="2561206"/>
                  </a:lnTo>
                  <a:close/>
                  <a:moveTo>
                    <a:pt x="609600" y="1951606"/>
                  </a:moveTo>
                  <a:lnTo>
                    <a:pt x="447675" y="2113531"/>
                  </a:lnTo>
                  <a:lnTo>
                    <a:pt x="447675" y="1705994"/>
                  </a:lnTo>
                  <a:lnTo>
                    <a:pt x="609600" y="1544069"/>
                  </a:lnTo>
                  <a:lnTo>
                    <a:pt x="609600" y="1951606"/>
                  </a:lnTo>
                  <a:close/>
                  <a:moveTo>
                    <a:pt x="609600" y="1342006"/>
                  </a:moveTo>
                  <a:lnTo>
                    <a:pt x="447675" y="1503931"/>
                  </a:lnTo>
                  <a:lnTo>
                    <a:pt x="447675" y="1096394"/>
                  </a:lnTo>
                  <a:lnTo>
                    <a:pt x="609600" y="934469"/>
                  </a:lnTo>
                  <a:lnTo>
                    <a:pt x="609600" y="1342006"/>
                  </a:lnTo>
                  <a:close/>
                  <a:moveTo>
                    <a:pt x="609600" y="732406"/>
                  </a:moveTo>
                  <a:lnTo>
                    <a:pt x="447675" y="894331"/>
                  </a:lnTo>
                  <a:lnTo>
                    <a:pt x="447675" y="486794"/>
                  </a:lnTo>
                  <a:lnTo>
                    <a:pt x="609600" y="324869"/>
                  </a:lnTo>
                  <a:lnTo>
                    <a:pt x="609600" y="732406"/>
                  </a:lnTo>
                  <a:close/>
                  <a:moveTo>
                    <a:pt x="914400" y="2418331"/>
                  </a:moveTo>
                  <a:lnTo>
                    <a:pt x="752475" y="2256406"/>
                  </a:lnTo>
                  <a:lnTo>
                    <a:pt x="752475" y="1848869"/>
                  </a:lnTo>
                  <a:lnTo>
                    <a:pt x="914400" y="2010794"/>
                  </a:lnTo>
                  <a:lnTo>
                    <a:pt x="914400" y="2418331"/>
                  </a:lnTo>
                  <a:close/>
                  <a:moveTo>
                    <a:pt x="914400" y="1808731"/>
                  </a:moveTo>
                  <a:lnTo>
                    <a:pt x="752475" y="1646806"/>
                  </a:lnTo>
                  <a:lnTo>
                    <a:pt x="752475" y="1239269"/>
                  </a:lnTo>
                  <a:lnTo>
                    <a:pt x="914400" y="1401194"/>
                  </a:lnTo>
                  <a:lnTo>
                    <a:pt x="914400" y="1808731"/>
                  </a:lnTo>
                  <a:close/>
                  <a:moveTo>
                    <a:pt x="914400" y="1199131"/>
                  </a:moveTo>
                  <a:lnTo>
                    <a:pt x="752475" y="1037206"/>
                  </a:lnTo>
                  <a:lnTo>
                    <a:pt x="752475" y="629669"/>
                  </a:lnTo>
                  <a:lnTo>
                    <a:pt x="914400" y="791594"/>
                  </a:lnTo>
                  <a:lnTo>
                    <a:pt x="914400" y="11991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9231813-60A8-4EC7-ADE8-2CEB9B689EF2}"/>
                </a:ext>
              </a:extLst>
            </p:cNvPr>
            <p:cNvSpPr/>
            <p:nvPr/>
          </p:nvSpPr>
          <p:spPr>
            <a:xfrm>
              <a:off x="6326187" y="15668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EABB37D-666E-495C-8346-72E8D373DDB6}"/>
              </a:ext>
            </a:extLst>
          </p:cNvPr>
          <p:cNvCxnSpPr>
            <a:stCxn id="24" idx="6"/>
            <a:endCxn id="28" idx="21"/>
          </p:cNvCxnSpPr>
          <p:nvPr/>
        </p:nvCxnSpPr>
        <p:spPr>
          <a:xfrm flipV="1">
            <a:off x="3453342" y="2665902"/>
            <a:ext cx="213282" cy="767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4199DEB-D8C0-4BAD-A5B1-2C908658E1F6}"/>
              </a:ext>
            </a:extLst>
          </p:cNvPr>
          <p:cNvGrpSpPr/>
          <p:nvPr/>
        </p:nvGrpSpPr>
        <p:grpSpPr>
          <a:xfrm rot="4687937">
            <a:off x="6254259" y="2399816"/>
            <a:ext cx="249065" cy="507978"/>
            <a:chOff x="5106987" y="1347788"/>
            <a:chExt cx="1666875" cy="3495675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694E560-C3C8-4A97-AEAC-86383E7BAF66}"/>
                </a:ext>
              </a:extLst>
            </p:cNvPr>
            <p:cNvSpPr/>
            <p:nvPr/>
          </p:nvSpPr>
          <p:spPr>
            <a:xfrm>
              <a:off x="5106987" y="1347788"/>
              <a:ext cx="1666875" cy="3495675"/>
            </a:xfrm>
            <a:custGeom>
              <a:avLst/>
              <a:gdLst>
                <a:gd name="connsiteX0" fmla="*/ 1290638 w 1666875"/>
                <a:gd name="connsiteY0" fmla="*/ 0 h 3495675"/>
                <a:gd name="connsiteX1" fmla="*/ 376238 w 1666875"/>
                <a:gd name="connsiteY1" fmla="*/ 0 h 3495675"/>
                <a:gd name="connsiteX2" fmla="*/ 0 w 1666875"/>
                <a:gd name="connsiteY2" fmla="*/ 376238 h 3495675"/>
                <a:gd name="connsiteX3" fmla="*/ 0 w 1666875"/>
                <a:gd name="connsiteY3" fmla="*/ 3119438 h 3495675"/>
                <a:gd name="connsiteX4" fmla="*/ 376238 w 1666875"/>
                <a:gd name="connsiteY4" fmla="*/ 3495675 h 3495675"/>
                <a:gd name="connsiteX5" fmla="*/ 1290638 w 1666875"/>
                <a:gd name="connsiteY5" fmla="*/ 3495675 h 3495675"/>
                <a:gd name="connsiteX6" fmla="*/ 1666875 w 1666875"/>
                <a:gd name="connsiteY6" fmla="*/ 3119438 h 3495675"/>
                <a:gd name="connsiteX7" fmla="*/ 1666875 w 1666875"/>
                <a:gd name="connsiteY7" fmla="*/ 376238 h 3495675"/>
                <a:gd name="connsiteX8" fmla="*/ 1290638 w 1666875"/>
                <a:gd name="connsiteY8" fmla="*/ 0 h 3495675"/>
                <a:gd name="connsiteX9" fmla="*/ 1524000 w 1666875"/>
                <a:gd name="connsiteY9" fmla="*/ 3119438 h 3495675"/>
                <a:gd name="connsiteX10" fmla="*/ 1290638 w 1666875"/>
                <a:gd name="connsiteY10" fmla="*/ 3352800 h 3495675"/>
                <a:gd name="connsiteX11" fmla="*/ 376238 w 1666875"/>
                <a:gd name="connsiteY11" fmla="*/ 3352800 h 3495675"/>
                <a:gd name="connsiteX12" fmla="*/ 142875 w 1666875"/>
                <a:gd name="connsiteY12" fmla="*/ 3119438 h 3495675"/>
                <a:gd name="connsiteX13" fmla="*/ 142875 w 1666875"/>
                <a:gd name="connsiteY13" fmla="*/ 376238 h 3495675"/>
                <a:gd name="connsiteX14" fmla="*/ 376238 w 1666875"/>
                <a:gd name="connsiteY14" fmla="*/ 142875 h 3495675"/>
                <a:gd name="connsiteX15" fmla="*/ 1290638 w 1666875"/>
                <a:gd name="connsiteY15" fmla="*/ 142875 h 3495675"/>
                <a:gd name="connsiteX16" fmla="*/ 1524000 w 1666875"/>
                <a:gd name="connsiteY16" fmla="*/ 376238 h 3495675"/>
                <a:gd name="connsiteX17" fmla="*/ 1524000 w 1666875"/>
                <a:gd name="connsiteY17" fmla="*/ 3119438 h 3495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66875" h="3495675">
                  <a:moveTo>
                    <a:pt x="1290638" y="0"/>
                  </a:moveTo>
                  <a:lnTo>
                    <a:pt x="376238" y="0"/>
                  </a:lnTo>
                  <a:cubicBezTo>
                    <a:pt x="168450" y="0"/>
                    <a:pt x="0" y="168450"/>
                    <a:pt x="0" y="376238"/>
                  </a:cubicBezTo>
                  <a:lnTo>
                    <a:pt x="0" y="3119438"/>
                  </a:lnTo>
                  <a:cubicBezTo>
                    <a:pt x="0" y="3327226"/>
                    <a:pt x="168450" y="3495675"/>
                    <a:pt x="376238" y="3495675"/>
                  </a:cubicBezTo>
                  <a:lnTo>
                    <a:pt x="1290638" y="3495675"/>
                  </a:lnTo>
                  <a:cubicBezTo>
                    <a:pt x="1498425" y="3495675"/>
                    <a:pt x="1666875" y="3327226"/>
                    <a:pt x="1666875" y="3119438"/>
                  </a:cubicBezTo>
                  <a:lnTo>
                    <a:pt x="1666875" y="376238"/>
                  </a:lnTo>
                  <a:cubicBezTo>
                    <a:pt x="1666875" y="168450"/>
                    <a:pt x="1498425" y="0"/>
                    <a:pt x="1290638" y="0"/>
                  </a:cubicBezTo>
                  <a:close/>
                  <a:moveTo>
                    <a:pt x="1524000" y="3119438"/>
                  </a:moveTo>
                  <a:cubicBezTo>
                    <a:pt x="1524000" y="3248320"/>
                    <a:pt x="1419520" y="3352800"/>
                    <a:pt x="1290638" y="3352800"/>
                  </a:cubicBezTo>
                  <a:lnTo>
                    <a:pt x="376238" y="3352800"/>
                  </a:lnTo>
                  <a:cubicBezTo>
                    <a:pt x="247355" y="3352800"/>
                    <a:pt x="142875" y="3248320"/>
                    <a:pt x="142875" y="3119438"/>
                  </a:cubicBezTo>
                  <a:lnTo>
                    <a:pt x="142875" y="376238"/>
                  </a:lnTo>
                  <a:cubicBezTo>
                    <a:pt x="142875" y="247355"/>
                    <a:pt x="247355" y="142875"/>
                    <a:pt x="376238" y="142875"/>
                  </a:cubicBezTo>
                  <a:lnTo>
                    <a:pt x="1290638" y="142875"/>
                  </a:lnTo>
                  <a:cubicBezTo>
                    <a:pt x="1419520" y="142875"/>
                    <a:pt x="1524000" y="247355"/>
                    <a:pt x="1524000" y="376238"/>
                  </a:cubicBezTo>
                  <a:lnTo>
                    <a:pt x="1524000" y="311943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653202F-E4EE-4BB5-B9C0-329F33B1D247}"/>
                </a:ext>
              </a:extLst>
            </p:cNvPr>
            <p:cNvSpPr/>
            <p:nvPr/>
          </p:nvSpPr>
          <p:spPr>
            <a:xfrm>
              <a:off x="5411787" y="44624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2A0A8B6-38D5-4285-BA1E-2525C7C85BBF}"/>
                </a:ext>
              </a:extLst>
            </p:cNvPr>
            <p:cNvSpPr/>
            <p:nvPr/>
          </p:nvSpPr>
          <p:spPr>
            <a:xfrm>
              <a:off x="5411787" y="1566863"/>
              <a:ext cx="1057275" cy="3048000"/>
            </a:xfrm>
            <a:custGeom>
              <a:avLst/>
              <a:gdLst>
                <a:gd name="connsiteX0" fmla="*/ 914400 w 1057275"/>
                <a:gd name="connsiteY0" fmla="*/ 381000 h 3048000"/>
                <a:gd name="connsiteX1" fmla="*/ 914400 w 1057275"/>
                <a:gd name="connsiteY1" fmla="*/ 589531 h 3048000"/>
                <a:gd name="connsiteX2" fmla="*/ 752475 w 1057275"/>
                <a:gd name="connsiteY2" fmla="*/ 427606 h 3048000"/>
                <a:gd name="connsiteX3" fmla="*/ 752475 w 1057275"/>
                <a:gd name="connsiteY3" fmla="*/ 0 h 3048000"/>
                <a:gd name="connsiteX4" fmla="*/ 609600 w 1057275"/>
                <a:gd name="connsiteY4" fmla="*/ 0 h 3048000"/>
                <a:gd name="connsiteX5" fmla="*/ 609600 w 1057275"/>
                <a:gd name="connsiteY5" fmla="*/ 122806 h 3048000"/>
                <a:gd name="connsiteX6" fmla="*/ 447675 w 1057275"/>
                <a:gd name="connsiteY6" fmla="*/ 284731 h 3048000"/>
                <a:gd name="connsiteX7" fmla="*/ 447675 w 1057275"/>
                <a:gd name="connsiteY7" fmla="*/ 0 h 3048000"/>
                <a:gd name="connsiteX8" fmla="*/ 304800 w 1057275"/>
                <a:gd name="connsiteY8" fmla="*/ 0 h 3048000"/>
                <a:gd name="connsiteX9" fmla="*/ 304800 w 1057275"/>
                <a:gd name="connsiteY9" fmla="*/ 589531 h 3048000"/>
                <a:gd name="connsiteX10" fmla="*/ 142875 w 1057275"/>
                <a:gd name="connsiteY10" fmla="*/ 427606 h 3048000"/>
                <a:gd name="connsiteX11" fmla="*/ 142875 w 1057275"/>
                <a:gd name="connsiteY11" fmla="*/ 0 h 3048000"/>
                <a:gd name="connsiteX12" fmla="*/ 0 w 1057275"/>
                <a:gd name="connsiteY12" fmla="*/ 0 h 3048000"/>
                <a:gd name="connsiteX13" fmla="*/ 0 w 1057275"/>
                <a:gd name="connsiteY13" fmla="*/ 2667000 h 3048000"/>
                <a:gd name="connsiteX14" fmla="*/ 142875 w 1057275"/>
                <a:gd name="connsiteY14" fmla="*/ 2667000 h 3048000"/>
                <a:gd name="connsiteX15" fmla="*/ 142875 w 1057275"/>
                <a:gd name="connsiteY15" fmla="*/ 2458469 h 3048000"/>
                <a:gd name="connsiteX16" fmla="*/ 304800 w 1057275"/>
                <a:gd name="connsiteY16" fmla="*/ 2620394 h 3048000"/>
                <a:gd name="connsiteX17" fmla="*/ 304800 w 1057275"/>
                <a:gd name="connsiteY17" fmla="*/ 3048000 h 3048000"/>
                <a:gd name="connsiteX18" fmla="*/ 447675 w 1057275"/>
                <a:gd name="connsiteY18" fmla="*/ 3048000 h 3048000"/>
                <a:gd name="connsiteX19" fmla="*/ 447675 w 1057275"/>
                <a:gd name="connsiteY19" fmla="*/ 2925194 h 3048000"/>
                <a:gd name="connsiteX20" fmla="*/ 609600 w 1057275"/>
                <a:gd name="connsiteY20" fmla="*/ 2763269 h 3048000"/>
                <a:gd name="connsiteX21" fmla="*/ 609600 w 1057275"/>
                <a:gd name="connsiteY21" fmla="*/ 3048000 h 3048000"/>
                <a:gd name="connsiteX22" fmla="*/ 752475 w 1057275"/>
                <a:gd name="connsiteY22" fmla="*/ 3048000 h 3048000"/>
                <a:gd name="connsiteX23" fmla="*/ 752475 w 1057275"/>
                <a:gd name="connsiteY23" fmla="*/ 2458469 h 3048000"/>
                <a:gd name="connsiteX24" fmla="*/ 914400 w 1057275"/>
                <a:gd name="connsiteY24" fmla="*/ 2620394 h 3048000"/>
                <a:gd name="connsiteX25" fmla="*/ 914400 w 1057275"/>
                <a:gd name="connsiteY25" fmla="*/ 3048000 h 3048000"/>
                <a:gd name="connsiteX26" fmla="*/ 1057275 w 1057275"/>
                <a:gd name="connsiteY26" fmla="*/ 3048000 h 3048000"/>
                <a:gd name="connsiteX27" fmla="*/ 1057275 w 1057275"/>
                <a:gd name="connsiteY27" fmla="*/ 381000 h 3048000"/>
                <a:gd name="connsiteX28" fmla="*/ 914400 w 1057275"/>
                <a:gd name="connsiteY28" fmla="*/ 381000 h 3048000"/>
                <a:gd name="connsiteX29" fmla="*/ 304800 w 1057275"/>
                <a:gd name="connsiteY29" fmla="*/ 2418331 h 3048000"/>
                <a:gd name="connsiteX30" fmla="*/ 142875 w 1057275"/>
                <a:gd name="connsiteY30" fmla="*/ 2256406 h 3048000"/>
                <a:gd name="connsiteX31" fmla="*/ 142875 w 1057275"/>
                <a:gd name="connsiteY31" fmla="*/ 1848869 h 3048000"/>
                <a:gd name="connsiteX32" fmla="*/ 304800 w 1057275"/>
                <a:gd name="connsiteY32" fmla="*/ 2010794 h 3048000"/>
                <a:gd name="connsiteX33" fmla="*/ 304800 w 1057275"/>
                <a:gd name="connsiteY33" fmla="*/ 2418331 h 3048000"/>
                <a:gd name="connsiteX34" fmla="*/ 304800 w 1057275"/>
                <a:gd name="connsiteY34" fmla="*/ 1808731 h 3048000"/>
                <a:gd name="connsiteX35" fmla="*/ 142875 w 1057275"/>
                <a:gd name="connsiteY35" fmla="*/ 1646806 h 3048000"/>
                <a:gd name="connsiteX36" fmla="*/ 142875 w 1057275"/>
                <a:gd name="connsiteY36" fmla="*/ 1239269 h 3048000"/>
                <a:gd name="connsiteX37" fmla="*/ 304800 w 1057275"/>
                <a:gd name="connsiteY37" fmla="*/ 1401194 h 3048000"/>
                <a:gd name="connsiteX38" fmla="*/ 304800 w 1057275"/>
                <a:gd name="connsiteY38" fmla="*/ 1808731 h 3048000"/>
                <a:gd name="connsiteX39" fmla="*/ 304800 w 1057275"/>
                <a:gd name="connsiteY39" fmla="*/ 1199131 h 3048000"/>
                <a:gd name="connsiteX40" fmla="*/ 142875 w 1057275"/>
                <a:gd name="connsiteY40" fmla="*/ 1037206 h 3048000"/>
                <a:gd name="connsiteX41" fmla="*/ 142875 w 1057275"/>
                <a:gd name="connsiteY41" fmla="*/ 629669 h 3048000"/>
                <a:gd name="connsiteX42" fmla="*/ 304800 w 1057275"/>
                <a:gd name="connsiteY42" fmla="*/ 791594 h 3048000"/>
                <a:gd name="connsiteX43" fmla="*/ 304800 w 1057275"/>
                <a:gd name="connsiteY43" fmla="*/ 1199131 h 3048000"/>
                <a:gd name="connsiteX44" fmla="*/ 609600 w 1057275"/>
                <a:gd name="connsiteY44" fmla="*/ 2561206 h 3048000"/>
                <a:gd name="connsiteX45" fmla="*/ 447675 w 1057275"/>
                <a:gd name="connsiteY45" fmla="*/ 2723131 h 3048000"/>
                <a:gd name="connsiteX46" fmla="*/ 447675 w 1057275"/>
                <a:gd name="connsiteY46" fmla="*/ 2315594 h 3048000"/>
                <a:gd name="connsiteX47" fmla="*/ 609600 w 1057275"/>
                <a:gd name="connsiteY47" fmla="*/ 2153669 h 3048000"/>
                <a:gd name="connsiteX48" fmla="*/ 609600 w 1057275"/>
                <a:gd name="connsiteY48" fmla="*/ 2561206 h 3048000"/>
                <a:gd name="connsiteX49" fmla="*/ 609600 w 1057275"/>
                <a:gd name="connsiteY49" fmla="*/ 1951606 h 3048000"/>
                <a:gd name="connsiteX50" fmla="*/ 447675 w 1057275"/>
                <a:gd name="connsiteY50" fmla="*/ 2113531 h 3048000"/>
                <a:gd name="connsiteX51" fmla="*/ 447675 w 1057275"/>
                <a:gd name="connsiteY51" fmla="*/ 1705994 h 3048000"/>
                <a:gd name="connsiteX52" fmla="*/ 609600 w 1057275"/>
                <a:gd name="connsiteY52" fmla="*/ 1544069 h 3048000"/>
                <a:gd name="connsiteX53" fmla="*/ 609600 w 1057275"/>
                <a:gd name="connsiteY53" fmla="*/ 1951606 h 3048000"/>
                <a:gd name="connsiteX54" fmla="*/ 609600 w 1057275"/>
                <a:gd name="connsiteY54" fmla="*/ 1342006 h 3048000"/>
                <a:gd name="connsiteX55" fmla="*/ 447675 w 1057275"/>
                <a:gd name="connsiteY55" fmla="*/ 1503931 h 3048000"/>
                <a:gd name="connsiteX56" fmla="*/ 447675 w 1057275"/>
                <a:gd name="connsiteY56" fmla="*/ 1096394 h 3048000"/>
                <a:gd name="connsiteX57" fmla="*/ 609600 w 1057275"/>
                <a:gd name="connsiteY57" fmla="*/ 934469 h 3048000"/>
                <a:gd name="connsiteX58" fmla="*/ 609600 w 1057275"/>
                <a:gd name="connsiteY58" fmla="*/ 1342006 h 3048000"/>
                <a:gd name="connsiteX59" fmla="*/ 609600 w 1057275"/>
                <a:gd name="connsiteY59" fmla="*/ 732406 h 3048000"/>
                <a:gd name="connsiteX60" fmla="*/ 447675 w 1057275"/>
                <a:gd name="connsiteY60" fmla="*/ 894331 h 3048000"/>
                <a:gd name="connsiteX61" fmla="*/ 447675 w 1057275"/>
                <a:gd name="connsiteY61" fmla="*/ 486794 h 3048000"/>
                <a:gd name="connsiteX62" fmla="*/ 609600 w 1057275"/>
                <a:gd name="connsiteY62" fmla="*/ 324869 h 3048000"/>
                <a:gd name="connsiteX63" fmla="*/ 609600 w 1057275"/>
                <a:gd name="connsiteY63" fmla="*/ 732406 h 3048000"/>
                <a:gd name="connsiteX64" fmla="*/ 914400 w 1057275"/>
                <a:gd name="connsiteY64" fmla="*/ 2418331 h 3048000"/>
                <a:gd name="connsiteX65" fmla="*/ 752475 w 1057275"/>
                <a:gd name="connsiteY65" fmla="*/ 2256406 h 3048000"/>
                <a:gd name="connsiteX66" fmla="*/ 752475 w 1057275"/>
                <a:gd name="connsiteY66" fmla="*/ 1848869 h 3048000"/>
                <a:gd name="connsiteX67" fmla="*/ 914400 w 1057275"/>
                <a:gd name="connsiteY67" fmla="*/ 2010794 h 3048000"/>
                <a:gd name="connsiteX68" fmla="*/ 914400 w 1057275"/>
                <a:gd name="connsiteY68" fmla="*/ 2418331 h 3048000"/>
                <a:gd name="connsiteX69" fmla="*/ 914400 w 1057275"/>
                <a:gd name="connsiteY69" fmla="*/ 1808731 h 3048000"/>
                <a:gd name="connsiteX70" fmla="*/ 752475 w 1057275"/>
                <a:gd name="connsiteY70" fmla="*/ 1646806 h 3048000"/>
                <a:gd name="connsiteX71" fmla="*/ 752475 w 1057275"/>
                <a:gd name="connsiteY71" fmla="*/ 1239269 h 3048000"/>
                <a:gd name="connsiteX72" fmla="*/ 914400 w 1057275"/>
                <a:gd name="connsiteY72" fmla="*/ 1401194 h 3048000"/>
                <a:gd name="connsiteX73" fmla="*/ 914400 w 1057275"/>
                <a:gd name="connsiteY73" fmla="*/ 1808731 h 3048000"/>
                <a:gd name="connsiteX74" fmla="*/ 914400 w 1057275"/>
                <a:gd name="connsiteY74" fmla="*/ 1199131 h 3048000"/>
                <a:gd name="connsiteX75" fmla="*/ 752475 w 1057275"/>
                <a:gd name="connsiteY75" fmla="*/ 1037206 h 3048000"/>
                <a:gd name="connsiteX76" fmla="*/ 752475 w 1057275"/>
                <a:gd name="connsiteY76" fmla="*/ 629669 h 3048000"/>
                <a:gd name="connsiteX77" fmla="*/ 914400 w 1057275"/>
                <a:gd name="connsiteY77" fmla="*/ 791594 h 3048000"/>
                <a:gd name="connsiteX78" fmla="*/ 914400 w 1057275"/>
                <a:gd name="connsiteY78" fmla="*/ 1199131 h 30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1057275" h="3048000">
                  <a:moveTo>
                    <a:pt x="914400" y="381000"/>
                  </a:moveTo>
                  <a:lnTo>
                    <a:pt x="914400" y="589531"/>
                  </a:lnTo>
                  <a:lnTo>
                    <a:pt x="752475" y="427606"/>
                  </a:lnTo>
                  <a:lnTo>
                    <a:pt x="752475" y="0"/>
                  </a:lnTo>
                  <a:lnTo>
                    <a:pt x="609600" y="0"/>
                  </a:lnTo>
                  <a:lnTo>
                    <a:pt x="609600" y="122806"/>
                  </a:lnTo>
                  <a:lnTo>
                    <a:pt x="447675" y="284731"/>
                  </a:lnTo>
                  <a:lnTo>
                    <a:pt x="447675" y="0"/>
                  </a:lnTo>
                  <a:lnTo>
                    <a:pt x="304800" y="0"/>
                  </a:lnTo>
                  <a:lnTo>
                    <a:pt x="304800" y="589531"/>
                  </a:lnTo>
                  <a:lnTo>
                    <a:pt x="142875" y="427606"/>
                  </a:lnTo>
                  <a:lnTo>
                    <a:pt x="142875" y="0"/>
                  </a:lnTo>
                  <a:lnTo>
                    <a:pt x="0" y="0"/>
                  </a:lnTo>
                  <a:lnTo>
                    <a:pt x="0" y="2667000"/>
                  </a:lnTo>
                  <a:lnTo>
                    <a:pt x="142875" y="2667000"/>
                  </a:lnTo>
                  <a:lnTo>
                    <a:pt x="142875" y="2458469"/>
                  </a:lnTo>
                  <a:lnTo>
                    <a:pt x="304800" y="2620394"/>
                  </a:lnTo>
                  <a:lnTo>
                    <a:pt x="304800" y="3048000"/>
                  </a:lnTo>
                  <a:lnTo>
                    <a:pt x="447675" y="3048000"/>
                  </a:lnTo>
                  <a:lnTo>
                    <a:pt x="447675" y="2925194"/>
                  </a:lnTo>
                  <a:lnTo>
                    <a:pt x="609600" y="2763269"/>
                  </a:lnTo>
                  <a:lnTo>
                    <a:pt x="609600" y="3048000"/>
                  </a:lnTo>
                  <a:lnTo>
                    <a:pt x="752475" y="3048000"/>
                  </a:lnTo>
                  <a:lnTo>
                    <a:pt x="752475" y="2458469"/>
                  </a:lnTo>
                  <a:lnTo>
                    <a:pt x="914400" y="2620394"/>
                  </a:lnTo>
                  <a:lnTo>
                    <a:pt x="914400" y="3048000"/>
                  </a:lnTo>
                  <a:lnTo>
                    <a:pt x="1057275" y="3048000"/>
                  </a:lnTo>
                  <a:lnTo>
                    <a:pt x="1057275" y="381000"/>
                  </a:lnTo>
                  <a:lnTo>
                    <a:pt x="914400" y="381000"/>
                  </a:lnTo>
                  <a:close/>
                  <a:moveTo>
                    <a:pt x="304800" y="2418331"/>
                  </a:moveTo>
                  <a:lnTo>
                    <a:pt x="142875" y="2256406"/>
                  </a:lnTo>
                  <a:lnTo>
                    <a:pt x="142875" y="1848869"/>
                  </a:lnTo>
                  <a:lnTo>
                    <a:pt x="304800" y="2010794"/>
                  </a:lnTo>
                  <a:lnTo>
                    <a:pt x="304800" y="2418331"/>
                  </a:lnTo>
                  <a:close/>
                  <a:moveTo>
                    <a:pt x="304800" y="1808731"/>
                  </a:moveTo>
                  <a:lnTo>
                    <a:pt x="142875" y="1646806"/>
                  </a:lnTo>
                  <a:lnTo>
                    <a:pt x="142875" y="1239269"/>
                  </a:lnTo>
                  <a:lnTo>
                    <a:pt x="304800" y="1401194"/>
                  </a:lnTo>
                  <a:lnTo>
                    <a:pt x="304800" y="1808731"/>
                  </a:lnTo>
                  <a:close/>
                  <a:moveTo>
                    <a:pt x="304800" y="1199131"/>
                  </a:moveTo>
                  <a:lnTo>
                    <a:pt x="142875" y="1037206"/>
                  </a:lnTo>
                  <a:lnTo>
                    <a:pt x="142875" y="629669"/>
                  </a:lnTo>
                  <a:lnTo>
                    <a:pt x="304800" y="791594"/>
                  </a:lnTo>
                  <a:lnTo>
                    <a:pt x="304800" y="1199131"/>
                  </a:lnTo>
                  <a:close/>
                  <a:moveTo>
                    <a:pt x="609600" y="2561206"/>
                  </a:moveTo>
                  <a:lnTo>
                    <a:pt x="447675" y="2723131"/>
                  </a:lnTo>
                  <a:lnTo>
                    <a:pt x="447675" y="2315594"/>
                  </a:lnTo>
                  <a:lnTo>
                    <a:pt x="609600" y="2153669"/>
                  </a:lnTo>
                  <a:lnTo>
                    <a:pt x="609600" y="2561206"/>
                  </a:lnTo>
                  <a:close/>
                  <a:moveTo>
                    <a:pt x="609600" y="1951606"/>
                  </a:moveTo>
                  <a:lnTo>
                    <a:pt x="447675" y="2113531"/>
                  </a:lnTo>
                  <a:lnTo>
                    <a:pt x="447675" y="1705994"/>
                  </a:lnTo>
                  <a:lnTo>
                    <a:pt x="609600" y="1544069"/>
                  </a:lnTo>
                  <a:lnTo>
                    <a:pt x="609600" y="1951606"/>
                  </a:lnTo>
                  <a:close/>
                  <a:moveTo>
                    <a:pt x="609600" y="1342006"/>
                  </a:moveTo>
                  <a:lnTo>
                    <a:pt x="447675" y="1503931"/>
                  </a:lnTo>
                  <a:lnTo>
                    <a:pt x="447675" y="1096394"/>
                  </a:lnTo>
                  <a:lnTo>
                    <a:pt x="609600" y="934469"/>
                  </a:lnTo>
                  <a:lnTo>
                    <a:pt x="609600" y="1342006"/>
                  </a:lnTo>
                  <a:close/>
                  <a:moveTo>
                    <a:pt x="609600" y="732406"/>
                  </a:moveTo>
                  <a:lnTo>
                    <a:pt x="447675" y="894331"/>
                  </a:lnTo>
                  <a:lnTo>
                    <a:pt x="447675" y="486794"/>
                  </a:lnTo>
                  <a:lnTo>
                    <a:pt x="609600" y="324869"/>
                  </a:lnTo>
                  <a:lnTo>
                    <a:pt x="609600" y="732406"/>
                  </a:lnTo>
                  <a:close/>
                  <a:moveTo>
                    <a:pt x="914400" y="2418331"/>
                  </a:moveTo>
                  <a:lnTo>
                    <a:pt x="752475" y="2256406"/>
                  </a:lnTo>
                  <a:lnTo>
                    <a:pt x="752475" y="1848869"/>
                  </a:lnTo>
                  <a:lnTo>
                    <a:pt x="914400" y="2010794"/>
                  </a:lnTo>
                  <a:lnTo>
                    <a:pt x="914400" y="2418331"/>
                  </a:lnTo>
                  <a:close/>
                  <a:moveTo>
                    <a:pt x="914400" y="1808731"/>
                  </a:moveTo>
                  <a:lnTo>
                    <a:pt x="752475" y="1646806"/>
                  </a:lnTo>
                  <a:lnTo>
                    <a:pt x="752475" y="1239269"/>
                  </a:lnTo>
                  <a:lnTo>
                    <a:pt x="914400" y="1401194"/>
                  </a:lnTo>
                  <a:lnTo>
                    <a:pt x="914400" y="1808731"/>
                  </a:lnTo>
                  <a:close/>
                  <a:moveTo>
                    <a:pt x="914400" y="1199131"/>
                  </a:moveTo>
                  <a:lnTo>
                    <a:pt x="752475" y="1037206"/>
                  </a:lnTo>
                  <a:lnTo>
                    <a:pt x="752475" y="629669"/>
                  </a:lnTo>
                  <a:lnTo>
                    <a:pt x="914400" y="791594"/>
                  </a:lnTo>
                  <a:lnTo>
                    <a:pt x="914400" y="11991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D7B5F20-4278-4192-813C-71CA3AA93137}"/>
                </a:ext>
              </a:extLst>
            </p:cNvPr>
            <p:cNvSpPr/>
            <p:nvPr/>
          </p:nvSpPr>
          <p:spPr>
            <a:xfrm>
              <a:off x="6326187" y="1566863"/>
              <a:ext cx="142875" cy="152400"/>
            </a:xfrm>
            <a:custGeom>
              <a:avLst/>
              <a:gdLst>
                <a:gd name="connsiteX0" fmla="*/ 0 w 142875"/>
                <a:gd name="connsiteY0" fmla="*/ 0 h 152400"/>
                <a:gd name="connsiteX1" fmla="*/ 142875 w 142875"/>
                <a:gd name="connsiteY1" fmla="*/ 0 h 152400"/>
                <a:gd name="connsiteX2" fmla="*/ 142875 w 142875"/>
                <a:gd name="connsiteY2" fmla="*/ 152400 h 152400"/>
                <a:gd name="connsiteX3" fmla="*/ 0 w 142875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5" h="152400">
                  <a:moveTo>
                    <a:pt x="0" y="0"/>
                  </a:moveTo>
                  <a:lnTo>
                    <a:pt x="142875" y="0"/>
                  </a:lnTo>
                  <a:lnTo>
                    <a:pt x="142875" y="152400"/>
                  </a:lnTo>
                  <a:lnTo>
                    <a:pt x="0" y="152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BD3E242-555E-47BF-A71F-7D62D1892C58}"/>
              </a:ext>
            </a:extLst>
          </p:cNvPr>
          <p:cNvCxnSpPr>
            <a:stCxn id="35" idx="44"/>
            <a:endCxn id="28" idx="54"/>
          </p:cNvCxnSpPr>
          <p:nvPr/>
        </p:nvCxnSpPr>
        <p:spPr>
          <a:xfrm flipH="1" flipV="1">
            <a:off x="3914533" y="2665902"/>
            <a:ext cx="2319922" cy="3059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lowchart: Or 40">
            <a:extLst>
              <a:ext uri="{FF2B5EF4-FFF2-40B4-BE49-F238E27FC236}">
                <a16:creationId xmlns:a16="http://schemas.microsoft.com/office/drawing/2014/main" id="{A76CA37E-0580-4633-BE32-A6CC671258F2}"/>
              </a:ext>
            </a:extLst>
          </p:cNvPr>
          <p:cNvSpPr/>
          <p:nvPr/>
        </p:nvSpPr>
        <p:spPr>
          <a:xfrm>
            <a:off x="5074494" y="2604538"/>
            <a:ext cx="144016" cy="144016"/>
          </a:xfrm>
          <a:prstGeom prst="flowChartOr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7C4FFE8-B907-4124-B7AC-3561AEA7239B}"/>
              </a:ext>
            </a:extLst>
          </p:cNvPr>
          <p:cNvCxnSpPr>
            <a:cxnSpLocks/>
          </p:cNvCxnSpPr>
          <p:nvPr/>
        </p:nvCxnSpPr>
        <p:spPr>
          <a:xfrm>
            <a:off x="1323375" y="1707654"/>
            <a:ext cx="5912921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CF73467-64DB-4E80-B808-9F7AF9168605}"/>
              </a:ext>
            </a:extLst>
          </p:cNvPr>
          <p:cNvCxnSpPr>
            <a:cxnSpLocks/>
          </p:cNvCxnSpPr>
          <p:nvPr/>
        </p:nvCxnSpPr>
        <p:spPr>
          <a:xfrm>
            <a:off x="1475656" y="1522988"/>
            <a:ext cx="0" cy="256093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76F5CF81-43CB-440D-9548-94AE7631AD8F}"/>
              </a:ext>
            </a:extLst>
          </p:cNvPr>
          <p:cNvSpPr txBox="1"/>
          <p:nvPr/>
        </p:nvSpPr>
        <p:spPr>
          <a:xfrm>
            <a:off x="7236296" y="1522988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x</a:t>
            </a:r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E215B00-DE40-46C0-82D2-84A5217DBC43}"/>
              </a:ext>
            </a:extLst>
          </p:cNvPr>
          <p:cNvSpPr txBox="1"/>
          <p:nvPr/>
        </p:nvSpPr>
        <p:spPr>
          <a:xfrm>
            <a:off x="1173334" y="3800024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y</a:t>
            </a:r>
            <a:endParaRPr lang="en-US" dirty="0"/>
          </a:p>
        </p:txBody>
      </p:sp>
      <p:sp>
        <p:nvSpPr>
          <p:cNvPr id="56" name="Arc 55">
            <a:extLst>
              <a:ext uri="{FF2B5EF4-FFF2-40B4-BE49-F238E27FC236}">
                <a16:creationId xmlns:a16="http://schemas.microsoft.com/office/drawing/2014/main" id="{259A59C2-C7D5-4AFF-AA63-C91AD7CE0667}"/>
              </a:ext>
            </a:extLst>
          </p:cNvPr>
          <p:cNvSpPr/>
          <p:nvPr/>
        </p:nvSpPr>
        <p:spPr>
          <a:xfrm rot="1072984">
            <a:off x="6901251" y="2413006"/>
            <a:ext cx="224359" cy="308555"/>
          </a:xfrm>
          <a:prstGeom prst="arc">
            <a:avLst>
              <a:gd name="adj1" fmla="val 16199989"/>
              <a:gd name="adj2" fmla="val 0"/>
            </a:avLst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3EF62A00-07ED-479C-ACE1-FDABF22C1A54}"/>
                  </a:ext>
                </a:extLst>
              </p:cNvPr>
              <p:cNvSpPr txBox="1"/>
              <p:nvPr/>
            </p:nvSpPr>
            <p:spPr>
              <a:xfrm>
                <a:off x="3019584" y="2612074"/>
                <a:ext cx="30739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1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</m:oMath>
                  </m:oMathPara>
                </a14:m>
                <a:endParaRPr lang="en-US" sz="1100" dirty="0"/>
              </a:p>
            </p:txBody>
          </p:sp>
        </mc:Choice>
        <mc:Fallback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3EF62A00-07ED-479C-ACE1-FDABF22C1A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9584" y="2612074"/>
                <a:ext cx="307392" cy="26161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D500ECDD-0140-4E99-A256-32842D558FCF}"/>
                  </a:ext>
                </a:extLst>
              </p:cNvPr>
              <p:cNvSpPr txBox="1"/>
              <p:nvPr/>
            </p:nvSpPr>
            <p:spPr>
              <a:xfrm>
                <a:off x="5562374" y="3037453"/>
                <a:ext cx="363561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D500ECDD-0140-4E99-A256-32842D558F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62374" y="3037453"/>
                <a:ext cx="363561" cy="26161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D0587824-9C49-46DB-A980-C5CD34CB89FF}"/>
                  </a:ext>
                </a:extLst>
              </p:cNvPr>
              <p:cNvSpPr txBox="1"/>
              <p:nvPr/>
            </p:nvSpPr>
            <p:spPr>
              <a:xfrm>
                <a:off x="4410536" y="3035438"/>
                <a:ext cx="355867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D0587824-9C49-46DB-A980-C5CD34CB89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0536" y="3035438"/>
                <a:ext cx="355867" cy="26161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68B8C4D6-AB2A-433F-BA1D-8C8A39641876}"/>
                  </a:ext>
                </a:extLst>
              </p:cNvPr>
              <p:cNvSpPr txBox="1"/>
              <p:nvPr/>
            </p:nvSpPr>
            <p:spPr>
              <a:xfrm>
                <a:off x="4115671" y="3427308"/>
                <a:ext cx="345671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68B8C4D6-AB2A-433F-BA1D-8C8A396418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5671" y="3427308"/>
                <a:ext cx="345671" cy="26161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CA104DD2-44E2-4567-9DBC-E3F7947F4A5D}"/>
                  </a:ext>
                </a:extLst>
              </p:cNvPr>
              <p:cNvSpPr txBox="1"/>
              <p:nvPr/>
            </p:nvSpPr>
            <p:spPr>
              <a:xfrm>
                <a:off x="3489347" y="3035438"/>
                <a:ext cx="355867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CA104DD2-44E2-4567-9DBC-E3F7947F4A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89347" y="3035438"/>
                <a:ext cx="355867" cy="26161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57470B3B-12E8-459C-A68B-F47E90655A69}"/>
                  </a:ext>
                </a:extLst>
              </p:cNvPr>
              <p:cNvSpPr txBox="1"/>
              <p:nvPr/>
            </p:nvSpPr>
            <p:spPr>
              <a:xfrm>
                <a:off x="4968568" y="2065352"/>
                <a:ext cx="329899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57470B3B-12E8-459C-A68B-F47E90655A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68568" y="2065352"/>
                <a:ext cx="329899" cy="26161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CCF0ABB-A547-40C5-AAEF-F9F91701B2B7}"/>
                  </a:ext>
                </a:extLst>
              </p:cNvPr>
              <p:cNvSpPr txBox="1"/>
              <p:nvPr/>
            </p:nvSpPr>
            <p:spPr>
              <a:xfrm>
                <a:off x="4542634" y="2404293"/>
                <a:ext cx="62029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MX" sz="1100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CCF0ABB-A547-40C5-AAEF-F9F91701B2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42634" y="2404293"/>
                <a:ext cx="620298" cy="261610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13B098D7-EE3D-422C-ABDA-B69D5F978B6F}"/>
                  </a:ext>
                </a:extLst>
              </p:cNvPr>
              <p:cNvSpPr txBox="1"/>
              <p:nvPr/>
            </p:nvSpPr>
            <p:spPr>
              <a:xfrm>
                <a:off x="2681098" y="2226791"/>
                <a:ext cx="36683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13B098D7-EE3D-422C-ABDA-B69D5F978B6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81098" y="2226791"/>
                <a:ext cx="366832" cy="261610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C2D74092-6973-46D3-A1C0-04D36093AAE2}"/>
                  </a:ext>
                </a:extLst>
              </p:cNvPr>
              <p:cNvSpPr txBox="1"/>
              <p:nvPr/>
            </p:nvSpPr>
            <p:spPr>
              <a:xfrm>
                <a:off x="2111721" y="2598711"/>
                <a:ext cx="359136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C2D74092-6973-46D3-A1C0-04D36093AA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11721" y="2598711"/>
                <a:ext cx="359136" cy="261610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6865B67F-BC14-43A2-83FD-718F2A3B2039}"/>
                  </a:ext>
                </a:extLst>
              </p:cNvPr>
              <p:cNvSpPr txBox="1"/>
              <p:nvPr/>
            </p:nvSpPr>
            <p:spPr>
              <a:xfrm>
                <a:off x="2267769" y="2190723"/>
                <a:ext cx="33316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6865B67F-BC14-43A2-83FD-718F2A3B20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7769" y="2190723"/>
                <a:ext cx="333168" cy="261610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81D3FA75-163C-47F4-AC2D-6603091374D1}"/>
                  </a:ext>
                </a:extLst>
              </p:cNvPr>
              <p:cNvSpPr txBox="1"/>
              <p:nvPr/>
            </p:nvSpPr>
            <p:spPr>
              <a:xfrm>
                <a:off x="2608331" y="3031280"/>
                <a:ext cx="62356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MX" sz="1100" b="0" i="1" smtClean="0">
                          <a:latin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es-MX" sz="11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  <m:r>
                            <a:rPr lang="es-MX" sz="11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1100" dirty="0"/>
              </a:p>
            </p:txBody>
          </p:sp>
        </mc:Choice>
        <mc:Fallback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81D3FA75-163C-47F4-AC2D-6603091374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08331" y="3031280"/>
                <a:ext cx="623568" cy="261610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50" name="Picture 2" descr="Aircraft principal axes - Wikipedia">
            <a:extLst>
              <a:ext uri="{FF2B5EF4-FFF2-40B4-BE49-F238E27FC236}">
                <a16:creationId xmlns:a16="http://schemas.microsoft.com/office/drawing/2014/main" id="{3BE249E2-B214-4E4F-969C-08D18B141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2877" y="2915003"/>
            <a:ext cx="1280328" cy="1059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658156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27AA13F5-ACC2-45AA-858E-3F8BC0F8F686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95289" y="411510"/>
                <a:ext cx="8353425" cy="3744565"/>
              </a:xfrm>
            </p:spPr>
            <p:txBody>
              <a:bodyPr>
                <a:normAutofit lnSpcReduction="10000"/>
              </a:bodyPr>
              <a:lstStyle/>
              <a:p>
                <a:r>
                  <a:rPr lang="es-MX" dirty="0"/>
                  <a:t>In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model</a:t>
                </a:r>
                <a:r>
                  <a:rPr lang="es-MX" dirty="0"/>
                  <a:t>, </a:t>
                </a:r>
                <a:r>
                  <a:rPr lang="es-MX" dirty="0" err="1"/>
                  <a:t>the</a:t>
                </a:r>
                <a:r>
                  <a:rPr lang="es-MX" dirty="0"/>
                  <a:t> tires </a:t>
                </a:r>
                <a:r>
                  <a:rPr lang="es-MX" dirty="0" err="1"/>
                  <a:t>of</a:t>
                </a:r>
                <a:r>
                  <a:rPr lang="es-MX" dirty="0"/>
                  <a:t> </a:t>
                </a:r>
                <a:r>
                  <a:rPr lang="es-MX" dirty="0" err="1"/>
                  <a:t>each</a:t>
                </a:r>
                <a:r>
                  <a:rPr lang="es-MX" dirty="0"/>
                  <a:t> </a:t>
                </a:r>
                <a:r>
                  <a:rPr lang="es-MX" dirty="0" err="1"/>
                  <a:t>axle</a:t>
                </a:r>
                <a:r>
                  <a:rPr lang="es-MX" dirty="0"/>
                  <a:t> are </a:t>
                </a:r>
                <a:r>
                  <a:rPr lang="es-MX" dirty="0" err="1"/>
                  <a:t>represented</a:t>
                </a:r>
                <a:r>
                  <a:rPr lang="es-MX" dirty="0"/>
                  <a:t> as single tire. </a:t>
                </a:r>
                <a:r>
                  <a:rPr lang="es-MX" dirty="0" err="1"/>
                  <a:t>That’s</a:t>
                </a:r>
                <a:r>
                  <a:rPr lang="es-MX" dirty="0"/>
                  <a:t> </a:t>
                </a:r>
                <a:r>
                  <a:rPr lang="es-MX" dirty="0" err="1"/>
                  <a:t>what</a:t>
                </a:r>
                <a:r>
                  <a:rPr lang="es-MX" dirty="0"/>
                  <a:t> si </a:t>
                </a:r>
                <a:r>
                  <a:rPr lang="es-MX" dirty="0" err="1"/>
                  <a:t>called</a:t>
                </a:r>
                <a:r>
                  <a:rPr lang="es-MX" dirty="0"/>
                  <a:t> ‘</a:t>
                </a:r>
                <a:r>
                  <a:rPr lang="es-MX" dirty="0" err="1"/>
                  <a:t>bicycle</a:t>
                </a:r>
                <a:r>
                  <a:rPr lang="es-MX" dirty="0"/>
                  <a:t> </a:t>
                </a:r>
                <a:r>
                  <a:rPr lang="es-MX" dirty="0" err="1"/>
                  <a:t>model</a:t>
                </a:r>
                <a:r>
                  <a:rPr lang="es-MX" dirty="0"/>
                  <a:t>’.</a:t>
                </a:r>
              </a:p>
              <a:p>
                <a:r>
                  <a:rPr lang="es-MX" dirty="0"/>
                  <a:t> Front Wheel </a:t>
                </a:r>
                <a:r>
                  <a:rPr lang="es-MX" dirty="0" err="1"/>
                  <a:t>steering</a:t>
                </a:r>
                <a:r>
                  <a:rPr lang="es-MX" dirty="0"/>
                  <a:t> </a:t>
                </a:r>
                <a:r>
                  <a:rPr lang="es-MX" dirty="0" err="1"/>
                  <a:t>angle</a:t>
                </a:r>
                <a:r>
                  <a:rPr lang="es-MX" dirty="0"/>
                  <a:t> </a:t>
                </a:r>
                <a14:m>
                  <m:oMath xmlns:m="http://schemas.openxmlformats.org/officeDocument/2006/math">
                    <m:r>
                      <a:rPr lang="es-MX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  <m:r>
                      <a:rPr lang="es-MX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</m:oMath>
                </a14:m>
                <a:endParaRPr lang="es-MX" b="0" dirty="0">
                  <a:ea typeface="Cambria Math" panose="02040503050406030204" pitchFamily="18" charset="0"/>
                </a:endParaRPr>
              </a:p>
              <a:p>
                <a:r>
                  <a:rPr lang="en-US" dirty="0"/>
                  <a:t>Hitch angle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𝜃</m:t>
                    </m:r>
                  </m:oMath>
                </a14:m>
                <a:endParaRPr lang="es-MX" dirty="0">
                  <a:ea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dirty="0"/>
                  <a:t> are the masses of the vehicle and trailer, respectively.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re the yaw moments of inertia of the vehicle and trailer respectively yaw axes passing through the center of mass.</a:t>
                </a:r>
              </a:p>
              <a:p>
                <a:r>
                  <a:rPr lang="en-US" dirty="0"/>
                  <a:t> The symbol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, are the distances of the vehicle front and rear axle to the center of mass</a:t>
                </a:r>
              </a:p>
              <a:p>
                <a:r>
                  <a:rPr lang="en-US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s-MX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, is the distance of the rear axle of the vehicle to the hitch point.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s-MX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s-MX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dirty="0"/>
                  <a:t>is the distance of the hitch point to the vehicle center of mass. </a:t>
                </a:r>
              </a:p>
            </p:txBody>
          </p:sp>
        </mc:Choice>
        <mc:Fallback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27AA13F5-ACC2-45AA-858E-3F8BC0F8F68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95289" y="411510"/>
                <a:ext cx="8353425" cy="3744565"/>
              </a:xfrm>
              <a:blipFill>
                <a:blip r:embed="rId3"/>
                <a:stretch>
                  <a:fillRect l="-1752" t="-3257" r="-6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FD3330-4C50-4061-98FB-432A839987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6 May 2020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FC604D-C19A-4E7D-9BB4-694ABADAF5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0DE67C-5080-4859-BEDA-2D3D2E1209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8719525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A61653BB-372C-4470-8AA6-56999768F9C4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95289" y="365432"/>
                <a:ext cx="8353425" cy="3790644"/>
              </a:xfrm>
            </p:spPr>
            <p:txBody>
              <a:bodyPr/>
              <a:lstStyle/>
              <a:p>
                <a:r>
                  <a:rPr lang="es-MX" dirty="0"/>
                  <a:t>Symbol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MX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MX" i="1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</m:oMath>
                </a14:m>
                <a:r>
                  <a:rPr lang="es-MX" dirty="0"/>
                  <a:t> denote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distances</a:t>
                </a:r>
                <a:r>
                  <a:rPr lang="es-MX" dirty="0"/>
                  <a:t> </a:t>
                </a:r>
                <a:r>
                  <a:rPr lang="es-MX" dirty="0" err="1"/>
                  <a:t>of</a:t>
                </a:r>
                <a:r>
                  <a:rPr lang="es-MX" dirty="0"/>
                  <a:t>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trialer</a:t>
                </a:r>
                <a:r>
                  <a:rPr lang="es-MX" dirty="0"/>
                  <a:t> center </a:t>
                </a:r>
                <a:r>
                  <a:rPr lang="es-MX" dirty="0" err="1"/>
                  <a:t>of</a:t>
                </a:r>
                <a:r>
                  <a:rPr lang="es-MX" dirty="0"/>
                  <a:t> </a:t>
                </a:r>
                <a:r>
                  <a:rPr lang="es-MX" dirty="0" err="1"/>
                  <a:t>mass</a:t>
                </a:r>
                <a:r>
                  <a:rPr lang="es-MX" dirty="0"/>
                  <a:t> </a:t>
                </a:r>
                <a:r>
                  <a:rPr lang="es-MX" dirty="0" err="1"/>
                  <a:t>to</a:t>
                </a:r>
                <a:r>
                  <a:rPr lang="es-MX" dirty="0"/>
                  <a:t> </a:t>
                </a:r>
                <a:r>
                  <a:rPr lang="es-MX" dirty="0" err="1"/>
                  <a:t>the</a:t>
                </a:r>
                <a:r>
                  <a:rPr lang="es-MX" dirty="0"/>
                  <a:t> </a:t>
                </a:r>
                <a:r>
                  <a:rPr lang="es-MX" dirty="0" err="1"/>
                  <a:t>hitch</a:t>
                </a:r>
                <a:r>
                  <a:rPr lang="es-MX" dirty="0"/>
                  <a:t> </a:t>
                </a:r>
                <a:r>
                  <a:rPr lang="es-MX" dirty="0" err="1"/>
                  <a:t>point</a:t>
                </a:r>
                <a:r>
                  <a:rPr lang="es-MX" dirty="0"/>
                  <a:t> and </a:t>
                </a:r>
                <a:r>
                  <a:rPr lang="es-MX" dirty="0" err="1"/>
                  <a:t>trailer</a:t>
                </a:r>
                <a:r>
                  <a:rPr lang="es-MX" dirty="0"/>
                  <a:t> </a:t>
                </a:r>
                <a:r>
                  <a:rPr lang="es-MX" dirty="0" err="1"/>
                  <a:t>axle</a:t>
                </a:r>
                <a:r>
                  <a:rPr lang="es-MX" dirty="0"/>
                  <a:t>, </a:t>
                </a:r>
                <a:r>
                  <a:rPr lang="es-MX" dirty="0" err="1"/>
                  <a:t>respectively</a:t>
                </a:r>
                <a:r>
                  <a:rPr lang="es-MX" dirty="0"/>
                  <a:t>.</a:t>
                </a:r>
              </a:p>
              <a:p>
                <a:r>
                  <a:rPr lang="es-MX" dirty="0"/>
                  <a:t> </a:t>
                </a:r>
                <a:endParaRPr lang="en-US" dirty="0"/>
              </a:p>
            </p:txBody>
          </p:sp>
        </mc:Choice>
        <mc:Fallback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A61653BB-372C-4470-8AA6-56999768F9C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95289" y="365432"/>
                <a:ext cx="8353425" cy="3790644"/>
              </a:xfrm>
              <a:blipFill>
                <a:blip r:embed="rId2"/>
                <a:stretch>
                  <a:fillRect l="-1752" t="-2412" r="-116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CEB578-7CD8-4BF8-B2FA-575E61DC5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26 May 2020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76B4F-5B96-4C08-9A24-62185B4131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D31652-1325-4363-A09B-4B5A3409832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72694544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Internal;Confidential;Third-Party Confidenti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4"/>
  <p:tag name="MIO_SHOW_DATE" val="True"/>
  <p:tag name="MIO_SHOW_FOOTER" val="True"/>
  <p:tag name="MIO_SHOW_PAGENUMBER" val="True"/>
  <p:tag name="MIO_AVOID_BLANK_LAYOUT" val="Fals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30.06.2017 15:29:39"/>
  <p:tag name="MIO_DBID" val="ED9FF2F2-6643-46BA-B685-7D49126FFAFF"/>
  <p:tag name="MIO_LASTDOWNLOADED" val="10.07.2017 14:56:51"/>
  <p:tag name="MIO_OBJECTNAME" val="Automotive, 16x9"/>
  <p:tag name="MIO_LASTEDITORNAME" val="Leon Kirchner_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15.02.2018 16:15:32"/>
  <p:tag name="MIO_DBID" val="ED9FF2F2-6643-46BA-B685-7D49126FFAFF"/>
  <p:tag name="MIO_LASTDOWNLOADED" val="25.05.2020 13:48:26"/>
  <p:tag name="MIO_OBJECTNAME" val="Automotive, 16x9"/>
</p:tagLst>
</file>

<file path=ppt/theme/theme1.xml><?xml version="1.0" encoding="utf-8"?>
<a:theme xmlns:a="http://schemas.openxmlformats.org/drawingml/2006/main" name="Continental AG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09</Words>
  <Application>Microsoft Office PowerPoint</Application>
  <PresentationFormat>On-screen Show (16:9)</PresentationFormat>
  <Paragraphs>62</Paragraphs>
  <Slides>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Arial</vt:lpstr>
      <vt:lpstr>Cambria Math</vt:lpstr>
      <vt:lpstr>Continental AG, 16x9</vt:lpstr>
      <vt:lpstr>Lateral Control Passenger Cars with Trailer</vt:lpstr>
      <vt:lpstr>Analytical model of vehicle-trailer combination </vt:lpstr>
      <vt:lpstr>PowerPoint Presentation</vt:lpstr>
      <vt:lpstr>PowerPoint Presentation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tinez Ramirez, Julio (uic26460)</dc:creator>
  <cp:lastModifiedBy>Martinez Ramirez, Julio (uic26460)</cp:lastModifiedBy>
  <cp:revision>18</cp:revision>
  <dcterms:created xsi:type="dcterms:W3CDTF">2018-02-15T15:15:31Z</dcterms:created>
  <dcterms:modified xsi:type="dcterms:W3CDTF">2020-05-27T00:14:02Z</dcterms:modified>
</cp:coreProperties>
</file>